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5.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xml" ContentType="application/vnd.openxmlformats-officedocument.presentationml.notesSlide+xml"/>
  <Override PartName="/ppt/comments/modernComment_11D_9F8ED5F1.xml" ContentType="application/vnd.ms-powerpoint.comments+xml"/>
  <Override PartName="/ppt/tags/tag65.xml" ContentType="application/vnd.openxmlformats-officedocument.presentationml.tags+xml"/>
  <Override PartName="/ppt/notesSlides/notesSlide3.xml" ContentType="application/vnd.openxmlformats-officedocument.presentationml.notesSlide+xml"/>
  <Override PartName="/ppt/tags/tag66.xml" ContentType="application/vnd.openxmlformats-officedocument.presentationml.tags+xml"/>
  <Override PartName="/ppt/notesSlides/notesSlide4.xml" ContentType="application/vnd.openxmlformats-officedocument.presentationml.notesSlide+xml"/>
  <Override PartName="/ppt/tags/tag67.xml" ContentType="application/vnd.openxmlformats-officedocument.presentationml.tags+xml"/>
  <Override PartName="/ppt/notesSlides/notesSlide5.xml" ContentType="application/vnd.openxmlformats-officedocument.presentationml.notesSlide+xml"/>
  <Override PartName="/ppt/tags/tag68.xml" ContentType="application/vnd.openxmlformats-officedocument.presentationml.tags+xml"/>
  <Override PartName="/ppt/notesSlides/notesSlide6.xml" ContentType="application/vnd.openxmlformats-officedocument.presentationml.notesSlide+xml"/>
  <Override PartName="/ppt/tags/tag6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2.xml" ContentType="application/vnd.openxmlformats-officedocument.presentationml.tags+xml"/>
  <Override PartName="/ppt/notesSlides/notesSlide17.xml" ContentType="application/vnd.openxmlformats-officedocument.presentationml.notesSlide+xml"/>
  <Override PartName="/ppt/tags/tag73.xml" ContentType="application/vnd.openxmlformats-officedocument.presentationml.tags+xml"/>
  <Override PartName="/ppt/notesSlides/notesSlide18.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74.xml" ContentType="application/vnd.openxmlformats-officedocument.presentationml.tags+xml"/>
  <Override PartName="/ppt/tags/tag75.xml" ContentType="application/vnd.openxmlformats-officedocument.presentationml.tags+xml"/>
  <Override PartName="/ppt/notesSlides/notesSlide19.xml" ContentType="application/vnd.openxmlformats-officedocument.presentationml.notesSlide+xml"/>
  <Override PartName="/ppt/tags/tag76.xml" ContentType="application/vnd.openxmlformats-officedocument.presentationml.tags+xml"/>
  <Override PartName="/ppt/notesSlides/notesSlide20.xml" ContentType="application/vnd.openxmlformats-officedocument.presentationml.notesSlide+xml"/>
  <Override PartName="/ppt/tags/tag77.xml" ContentType="application/vnd.openxmlformats-officedocument.presentationml.tags+xml"/>
  <Override PartName="/ppt/notesSlides/notesSlide21.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charts/chartEx5.xml" ContentType="application/vnd.ms-office.chartex+xml"/>
  <Override PartName="/ppt/charts/style5.xml" ContentType="application/vnd.ms-office.chartstyle+xml"/>
  <Override PartName="/ppt/charts/colors5.xml" ContentType="application/vnd.ms-office.chartcolorstyle+xml"/>
  <Override PartName="/ppt/notesSlides/notesSlide2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16" r:id="rId5"/>
    <p:sldMasterId id="2147483775" r:id="rId6"/>
    <p:sldMasterId id="2147483818" r:id="rId7"/>
    <p:sldMasterId id="2147483873" r:id="rId8"/>
  </p:sldMasterIdLst>
  <p:notesMasterIdLst>
    <p:notesMasterId r:id="rId47"/>
  </p:notesMasterIdLst>
  <p:handoutMasterIdLst>
    <p:handoutMasterId r:id="rId48"/>
  </p:handoutMasterIdLst>
  <p:sldIdLst>
    <p:sldId id="269" r:id="rId9"/>
    <p:sldId id="393" r:id="rId10"/>
    <p:sldId id="285" r:id="rId11"/>
    <p:sldId id="298" r:id="rId12"/>
    <p:sldId id="2147483645" r:id="rId13"/>
    <p:sldId id="288" r:id="rId14"/>
    <p:sldId id="300" r:id="rId15"/>
    <p:sldId id="301" r:id="rId16"/>
    <p:sldId id="303" r:id="rId17"/>
    <p:sldId id="326" r:id="rId18"/>
    <p:sldId id="327" r:id="rId19"/>
    <p:sldId id="304" r:id="rId20"/>
    <p:sldId id="307" r:id="rId21"/>
    <p:sldId id="297" r:id="rId22"/>
    <p:sldId id="305" r:id="rId23"/>
    <p:sldId id="2147479456" r:id="rId24"/>
    <p:sldId id="258" r:id="rId25"/>
    <p:sldId id="2147483262" r:id="rId26"/>
    <p:sldId id="2147483258" r:id="rId27"/>
    <p:sldId id="2147483646" r:id="rId28"/>
    <p:sldId id="2337" r:id="rId29"/>
    <p:sldId id="2338" r:id="rId30"/>
    <p:sldId id="260" r:id="rId31"/>
    <p:sldId id="2147483639" r:id="rId32"/>
    <p:sldId id="256" r:id="rId33"/>
    <p:sldId id="414" r:id="rId34"/>
    <p:sldId id="261" r:id="rId35"/>
    <p:sldId id="390" r:id="rId36"/>
    <p:sldId id="290" r:id="rId37"/>
    <p:sldId id="293" r:id="rId38"/>
    <p:sldId id="257" r:id="rId39"/>
    <p:sldId id="259" r:id="rId40"/>
    <p:sldId id="264" r:id="rId41"/>
    <p:sldId id="263" r:id="rId42"/>
    <p:sldId id="410" r:id="rId43"/>
    <p:sldId id="417" r:id="rId44"/>
    <p:sldId id="418" r:id="rId45"/>
    <p:sldId id="2147483647" r:id="rId46"/>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FEA9568-5957-D9C8-1D3A-867E5F69ECFC}" name="Scherf, Ronny" initials="RS" userId="S::Ronny.Scherf@Honeywell.com::c2799865-d29a-40f5-ba31-6610384ffec7" providerId="AD"/>
  <p188:author id="{010F1876-7582-9AFC-C41A-C76044BFA6BC}" name="Clements-Smith, Ashley" initials="CA" userId="S::ash.clements-smith@honeywell.com::000f81f0-74d4-425c-8a12-33941d40a146" providerId="AD"/>
  <p188:author id="{0A14878A-0884-0680-D68A-F4FB3677CFF0}" name="Patil, Sandeep (HBS)" initials="PS" userId="S::sandeep.c.patil@honeywell.com::3c79e9b7-44f0-4622-be39-675794ffa4dc" providerId="AD"/>
  <p188:author id="{7C9C9CCC-1260-FF84-64FC-CEE1E40F6F21}" name="Clements-Smith, Ashley" initials="AC" userId="S::Ash.Clements-Smith@Honeywell.com::000f81f0-74d4-425c-8a12-33941d40a146" providerId="AD"/>
  <p188:author id="{3B0017CF-6590-D382-9F35-FC374094F510}" name="M, Karthika" initials="" userId="S::Karthika.M@Honeywell.com::82bcc254-0286-4e52-9398-6c38b45bb668" providerId="AD"/>
  <p188:author id="{58639AE3-134F-1636-2776-F77EC448D736}" name="Scott LaRue" initials="SL" userId="S::scott_craftedagency.com#ext#@honeywellprod.onmicrosoft.com::b3870a19-e046-4e28-8560-53fa188f4b2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A0A0"/>
    <a:srgbClr val="D22630"/>
    <a:srgbClr val="EE3124"/>
    <a:srgbClr val="F2F2F2"/>
    <a:srgbClr val="E0E0E0"/>
    <a:srgbClr val="DC202E"/>
    <a:srgbClr val="FFFFFF"/>
    <a:srgbClr val="C0C0C0"/>
    <a:srgbClr val="707070"/>
    <a:srgbClr val="40404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9" d="100"/>
          <a:sy n="69" d="100"/>
        </p:scale>
        <p:origin x="499" y="6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ags" Target="tags/tag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https://honeywellprod-my.sharepoint.com/personal/ronny_scherf_honeywell_com/Documents/ValueWalk%20(1).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https://honeywellprod-my.sharepoint.com/personal/ronny_scherf_honeywell_com/Documents/ValueWalk%20(1).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https://honeywellprod-my.sharepoint.com/personal/ronny_scherf_honeywell_com/Documents/ValueWalk%20(1).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https://honeywellprod-my.sharepoint.com/personal/ronny_scherf_honeywell_com/Documents/ValueWalk%20(1).xlsx" TargetMode="External"/></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honeywellprod-my.sharepoint.com/personal/ronny_scherf_honeywell_com/Documents/ValueWalk%20(1).xlsx"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mote Building Manager'!$B$23,'Remote Building Manager'!$B$27:$B$31,'Remote Building Manager'!$B$38,'Remote Building Manager'!$B$42,'Remote Building Manager'!$B$43</cx:f>
        <cx:lvl ptCount="9">
          <cx:pt idx="0">Next Best Alternative price
(spread over 5 yrs)</cx:pt>
          <cx:pt idx="1">Energy savings opportunity assessment</cx:pt>
          <cx:pt idx="2">Asset Lifecycle assessment</cx:pt>
          <cx:pt idx="3">Remote connectivity</cx:pt>
          <cx:pt idx="4">Additional revenue opportunity (SPOT)</cx:pt>
          <cx:pt idx="5">IT Maintenance &amp; upgrades</cx:pt>
          <cx:pt idx="6">(-) cost to install or switch from NBA
(Spread over 5 yrs)</cx:pt>
          <cx:pt idx="7">BMS-RBM-BASE-1500</cx:pt>
          <cx:pt idx="8">Net Value (yearly)</cx:pt>
        </cx:lvl>
      </cx:strDim>
      <cx:numDim type="val">
        <cx:f>'Remote Building Manager'!$C$23,'Remote Building Manager'!$C$27:$C$31,'Remote Building Manager'!$C$38,'Remote Building Manager'!$C$42,'Remote Building Manager'!$C$43</cx:f>
        <cx:lvl ptCount="9" formatCode="_(&quot;$&quot;* #,##0_);_(&quot;$&quot;* \(#,##0\);_(&quot;$&quot;* &quot;-&quot;??_);_(@_)">
          <cx:pt idx="0">1230</cx:pt>
          <cx:pt idx="1">1200</cx:pt>
          <cx:pt idx="2">250</cx:pt>
          <cx:pt idx="3">800</cx:pt>
          <cx:pt idx="4">1350</cx:pt>
          <cx:pt idx="5">800</cx:pt>
          <cx:pt idx="6">-200</cx:pt>
          <cx:pt idx="7">-699</cx:pt>
          <cx:pt idx="8">4731</cx:pt>
        </cx:lvl>
      </cx:numDim>
    </cx:data>
  </cx:chartData>
  <cx:chart>
    <cx:title pos="t" align="ctr" overlay="0">
      <cx:tx>
        <cx:txData>
          <cx:v>Partner - Value Walk</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Partner - Value Walk</a:t>
          </a:r>
        </a:p>
      </cx:txPr>
    </cx:title>
    <cx:plotArea>
      <cx:plotAreaRegion>
        <cx:series layoutId="waterfall" uniqueId="{3C1B5E64-30B6-4F1F-9D2F-921D1C97EF27}">
          <cx:dataLabels pos="outEnd">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visibility seriesName="0" categoryName="0" value="1"/>
          </cx:dataLabels>
          <cx:dataId val="0"/>
          <cx:layoutPr>
            <cx:subtotals>
              <cx:idx val="8"/>
            </cx:subtotals>
          </cx:layoutPr>
        </cx:series>
      </cx:plotAreaRegion>
      <cx:axis id="0">
        <cx:catScaling gapWidth="0.5"/>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axis id="1">
        <cx:valScaling/>
        <cx:majorGridlines/>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plotArea>
    <cx:legend pos="t" align="ctr" overlay="0">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legend>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mote Building Manager'!$B$23,'Remote Building Manager'!$B$27,'Remote Building Manager'!$B$42:$B$43)</cx:f>
        <cx:lvl ptCount="4">
          <cx:pt idx="0">Next Best Alternative price
(spread over 5 yrs)</cx:pt>
          <cx:pt idx="1">Energy savings opportunity assessment</cx:pt>
          <cx:pt idx="2">BMS-RBM-BASE-1500</cx:pt>
          <cx:pt idx="3">Net Value (yearly)</cx:pt>
        </cx:lvl>
      </cx:strDim>
      <cx:numDim type="val">
        <cx:f>('Remote Building Manager'!$D$23,'Remote Building Manager'!$D$27,'Remote Building Manager'!$D$42:$D$43)</cx:f>
        <cx:lvl ptCount="4" formatCode="_(&quot;$&quot;* #,##0_);_(&quot;$&quot;* \(#,##0\);_(&quot;$&quot;* &quot;-&quot;??_);_(@_)">
          <cx:pt idx="0">2199</cx:pt>
          <cx:pt idx="1">2400</cx:pt>
          <cx:pt idx="2">-699</cx:pt>
          <cx:pt idx="3">3900</cx:pt>
        </cx:lvl>
      </cx:numDim>
    </cx:data>
  </cx:chartData>
  <cx:chart>
    <cx:title pos="t" align="ctr" overlay="0">
      <cx:tx>
        <cx:txData>
          <cx:v>RBM - End User Value Walk</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RBM - End User Value Walk</a:t>
          </a:r>
        </a:p>
      </cx:txPr>
    </cx:title>
    <cx:plotArea>
      <cx:plotAreaRegion>
        <cx:series layoutId="waterfall" uniqueId="{54257302-61F5-436C-988B-D40AE4313C19}">
          <cx:dataLabels pos="outEnd">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visibility seriesName="0" categoryName="0" value="1"/>
          </cx:dataLabels>
          <cx:dataId val="0"/>
          <cx:layoutPr>
            <cx:subtotals>
              <cx:idx val="3"/>
            </cx:subtotals>
          </cx:layoutPr>
        </cx:series>
      </cx:plotAreaRegion>
      <cx:axis id="0">
        <cx:catScaling gapWidth="0.5"/>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axis id="1">
        <cx:valScaling/>
        <cx:majorGridlines/>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plotArea>
    <cx:legend pos="t" align="ctr" overlay="0">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legend>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Basic Connect Package + PdM'!$B$27,'Basic Connect Package + PdM'!$B$31:$B$36,'Basic Connect Package + PdM'!$B$43:$B$44,'Basic Connect Package + PdM'!$B$48:$B$51)</cx:f>
        <cx:lvl ptCount="13">
          <cx:pt idx="0">Next Best Alernative price
(spread over 5 yrs)</cx:pt>
          <cx:pt idx="1">Opp. Assessment</cx:pt>
          <cx:pt idx="2">Obsolescence Assessment</cx:pt>
          <cx:pt idx="3">Predictive Maintenance</cx:pt>
          <cx:pt idx="4">Remote Connectivity</cx:pt>
          <cx:pt idx="5">Additional revenue opportunity (SPOT)</cx:pt>
          <cx:pt idx="6">IT Maintenance &amp; upgrades</cx:pt>
          <cx:pt idx="7">(-) cost to install or switch from NBA
(Spread over 5 yrs)</cx:pt>
          <cx:pt idx="8">(-) cost to deliver maintenance contract</cx:pt>
          <cx:pt idx="9">BMS-RBM-BASE-1500</cx:pt>
          <cx:pt idx="10">BMS-IB-ADD-5</cx:pt>
          <cx:pt idx="11">BMS-PDM-BASE-500</cx:pt>
          <cx:pt idx="12">Net Value</cx:pt>
        </cx:lvl>
      </cx:strDim>
      <cx:numDim type="val">
        <cx:f>('Basic Connect Package + PdM'!$C$27,'Basic Connect Package + PdM'!$C$31:$C$36,'Basic Connect Package + PdM'!$C$43:$C$44,'Basic Connect Package + PdM'!$C$48:$C$51)</cx:f>
        <cx:lvl ptCount="13" formatCode="_(&quot;$&quot;* #,##0_);_(&quot;$&quot;* \(#,##0\);_(&quot;$&quot;* &quot;-&quot;??_);_(@_)">
          <cx:pt idx="0">4926</cx:pt>
          <cx:pt idx="1">1200</cx:pt>
          <cx:pt idx="2">250</cx:pt>
          <cx:pt idx="3">660.00000000000011</cx:pt>
          <cx:pt idx="4">800</cx:pt>
          <cx:pt idx="5">1350</cx:pt>
          <cx:pt idx="6">800</cx:pt>
          <cx:pt idx="7">-200</cx:pt>
          <cx:pt idx="8">-2640.0000000000005</cx:pt>
          <cx:pt idx="9">-699</cx:pt>
          <cx:pt idx="10">-499.80000000000001</cx:pt>
          <cx:pt idx="11">-999</cx:pt>
          <cx:pt idx="12">4948.1999999999998</cx:pt>
        </cx:lvl>
      </cx:numDim>
    </cx:data>
  </cx:chartData>
  <cx:chart>
    <cx:title pos="t" align="ctr" overlay="0">
      <cx:tx>
        <cx:txData>
          <cx:v>PDM - Partner Value Walk</cx:v>
        </cx:txData>
      </cx:tx>
      <cx:txPr>
        <a:bodyPr vertOverflow="overflow" horzOverflow="overflow" wrap="square" lIns="0" tIns="0" rIns="0" bIns="0"/>
        <a:lstStyle/>
        <a:p>
          <a:pPr algn="ctr" rtl="0">
            <a:defRPr sz="1400" b="0" i="0">
              <a:solidFill>
                <a:srgbClr val="7F7F7F"/>
              </a:solidFill>
              <a:latin typeface="Calibri" panose="020F0502020204030204" pitchFamily="34" charset="0"/>
              <a:ea typeface="Calibri" panose="020F0502020204030204" pitchFamily="34" charset="0"/>
              <a:cs typeface="Calibri" panose="020F0502020204030204" pitchFamily="34" charset="0"/>
            </a:defRPr>
          </a:pPr>
          <a:r>
            <a:t>PDM - Partner Value Walk</a:t>
          </a:r>
        </a:p>
      </cx:txPr>
    </cx:title>
    <cx:plotArea>
      <cx:plotAreaRegion>
        <cx:series layoutId="waterfall" uniqueId="{C1D2B990-2F50-4186-9590-EBF6687CD623}">
          <cx:dataLabels pos="outEnd">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visibility seriesName="0" categoryName="0" value="1"/>
          </cx:dataLabels>
          <cx:dataId val="0"/>
          <cx:layoutPr>
            <cx:subtotals>
              <cx:idx val="12"/>
            </cx:subtotals>
          </cx:layoutPr>
        </cx:series>
      </cx:plotAreaRegion>
      <cx:axis id="0">
        <cx:catScaling gapWidth="0.5"/>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axis id="1">
        <cx:valScaling/>
        <cx:majorGridlines/>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plotArea>
    <cx:legend pos="t" align="ctr" overlay="0">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legend>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mote Building Manager + IB'!$B$26,'Remote Building Manager + IB'!$B$30:$B$35,'Remote Building Manager + IB'!$B$42,'Remote Building Manager + IB'!$B$46:$B$48)</cx:f>
        <cx:lvl ptCount="11">
          <cx:pt idx="0">Next Best Alternative price
(spread over 5 yrs)</cx:pt>
          <cx:pt idx="1">Energy savings opportunity assessment</cx:pt>
          <cx:pt idx="2">Obsolescence assessment</cx:pt>
          <cx:pt idx="3">Rapid report and dashboard generation (Insight Builder)</cx:pt>
          <cx:pt idx="4">Remote connectivity</cx:pt>
          <cx:pt idx="5">Additional revenue opportunity (SPOT)</cx:pt>
          <cx:pt idx="6">IT Maintenance &amp; upgrades</cx:pt>
          <cx:pt idx="7">(-) cost to install or switch from NBA
(Spread over 5 yrs)</cx:pt>
          <cx:pt idx="8">BMS-RBM-BASE-1500</cx:pt>
          <cx:pt idx="9">BMS-IB-ADD-5</cx:pt>
          <cx:pt idx="10">Net Value (yearly)</cx:pt>
        </cx:lvl>
      </cx:strDim>
      <cx:numDim type="val">
        <cx:f>('Remote Building Manager + IB'!$C$26,'Remote Building Manager + IB'!$C$30:$C$35,'Remote Building Manager + IB'!$C$42,'Remote Building Manager + IB'!$C$46:$C$48)</cx:f>
        <cx:lvl ptCount="11" formatCode="_(&quot;$&quot;* #,##0_);_(&quot;$&quot;* \(#,##0\);_(&quot;$&quot;* &quot;-&quot;??_);_(@_)">
          <cx:pt idx="0">2866</cx:pt>
          <cx:pt idx="1">1200</cx:pt>
          <cx:pt idx="2">250</cx:pt>
          <cx:pt idx="3">2400</cx:pt>
          <cx:pt idx="4">800</cx:pt>
          <cx:pt idx="5">1350</cx:pt>
          <cx:pt idx="6">800</cx:pt>
          <cx:pt idx="7">-200</cx:pt>
          <cx:pt idx="8">-699</cx:pt>
          <cx:pt idx="9">-499.80000000000001</cx:pt>
          <cx:pt idx="10">8267.2000000000007</cx:pt>
        </cx:lvl>
      </cx:numDim>
    </cx:data>
  </cx:chartData>
  <cx:chart>
    <cx:title pos="t" align="ctr" overlay="0">
      <cx:tx>
        <cx:txData>
          <cx:v>Insight Builder - Partner Value Walk</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Insight Builder - Partner Value Walk</a:t>
          </a:r>
        </a:p>
      </cx:txPr>
    </cx:title>
    <cx:plotArea>
      <cx:plotAreaRegion>
        <cx:series layoutId="waterfall" uniqueId="{6ED7C9D3-2E91-4BAE-989D-0EB0F5C92E7F}">
          <cx:dataLabels pos="outEnd">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visibility seriesName="0" categoryName="0" value="1"/>
          </cx:dataLabels>
          <cx:dataId val="0"/>
          <cx:layoutPr>
            <cx:subtotals>
              <cx:idx val="10"/>
            </cx:subtotals>
          </cx:layoutPr>
        </cx:series>
      </cx:plotAreaRegion>
      <cx:axis id="0">
        <cx:catScaling gapWidth="0.5"/>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axis id="1">
        <cx:valScaling/>
        <cx:majorGridlines/>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plotArea>
    <cx:legend pos="t" align="ctr" overlay="0">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legend>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mote Building Manager + IB'!$B$26,'Remote Building Manager + IB'!$B$30,'Remote Building Manager + IB'!$B$46:$B$48)</cx:f>
        <cx:lvl ptCount="5">
          <cx:pt idx="0">Next Best Alternative price
(spread over 5 yrs)</cx:pt>
          <cx:pt idx="1">Energy savings opportunity assessment</cx:pt>
          <cx:pt idx="2">BMS-RBM-BASE-1500</cx:pt>
          <cx:pt idx="3">BMS-IB-ADD-5</cx:pt>
          <cx:pt idx="4">Net Value (yearly)</cx:pt>
        </cx:lvl>
      </cx:strDim>
      <cx:numDim type="val">
        <cx:f>('Remote Building Manager + IB'!$D$26,'Remote Building Manager + IB'!$D$30,'Remote Building Manager + IB'!$D$46:$D$48)</cx:f>
        <cx:lvl ptCount="5" formatCode="_(&quot;$&quot;* #,##0_);_(&quot;$&quot;* \(#,##0\);_(&quot;$&quot;* &quot;-&quot;??_);_(@_)">
          <cx:pt idx="0">4325.8000000000002</cx:pt>
          <cx:pt idx="1">2400</cx:pt>
          <cx:pt idx="2">-699</cx:pt>
          <cx:pt idx="3">-649.74000000000001</cx:pt>
          <cx:pt idx="4">5377.0600000000004</cx:pt>
        </cx:lvl>
      </cx:numDim>
    </cx:data>
  </cx:chartData>
  <cx:chart>
    <cx:title pos="t" align="ctr" overlay="0">
      <cx:tx>
        <cx:txData>
          <cx:v>Insight Builder - End User  Value Walk</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Insight Builder - End User  Value Walk</a:t>
          </a:r>
        </a:p>
      </cx:txPr>
    </cx:title>
    <cx:plotArea>
      <cx:plotAreaRegion>
        <cx:series layoutId="waterfall" uniqueId="{AFA9B706-F37C-4A13-A7F3-3D171A979085}">
          <cx:dataLabels pos="outEnd">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visibility seriesName="0" categoryName="0" value="1"/>
          </cx:dataLabels>
          <cx:dataId val="0"/>
          <cx:layoutPr>
            <cx:subtotals>
              <cx:idx val="4"/>
            </cx:subtotals>
          </cx:layoutPr>
        </cx:series>
      </cx:plotAreaRegion>
      <cx:axis id="0">
        <cx:catScaling gapWidth="0.5"/>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axis id="1">
        <cx:valScaling/>
        <cx:majorGridlines/>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plotArea>
    <cx:legend pos="t" align="ctr" overlay="0">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legend>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omments/modernComment_11D_9F8ED5F1.xml><?xml version="1.0" encoding="utf-8"?>
<p188:cmLst xmlns:a="http://schemas.openxmlformats.org/drawingml/2006/main" xmlns:r="http://schemas.openxmlformats.org/officeDocument/2006/relationships" xmlns:p188="http://schemas.microsoft.com/office/powerpoint/2018/8/main">
  <p188:cm id="{99941CF6-29C4-47CD-BCED-EBCA67CFAF4B}" authorId="{3FEA9568-5957-D9C8-1D3A-867E5F69ECFC}" created="2025-02-13T10:47:56.637">
    <pc:sldMkLst xmlns:pc="http://schemas.microsoft.com/office/powerpoint/2013/main/command">
      <pc:docMk/>
      <pc:sldMk cId="330493064" sldId="2147483499"/>
    </pc:sldMkLst>
    <p188:txBody>
      <a:bodyPr/>
      <a:lstStyle/>
      <a:p>
        <a:r>
          <a:rPr lang="en-US"/>
          <a:t>What about overall costs and portfolio ‚value‘ for real estate management companies</a:t>
        </a:r>
      </a:p>
    </p188:txBody>
  </p188:cm>
  <p188:cm id="{4394CE37-FF94-48A3-B071-D812794F23D6}" authorId="{58639AE3-134F-1636-2776-F77EC448D736}" created="2025-03-10T13:37:55.673">
    <pc:sldMkLst xmlns:pc="http://schemas.microsoft.com/office/powerpoint/2013/main/command">
      <pc:docMk/>
      <pc:sldMk cId="330493064" sldId="2147483499"/>
    </pc:sldMkLst>
    <p188:txBody>
      <a:bodyPr/>
      <a:lstStyle/>
      <a:p>
        <a:r>
          <a:rPr lang="en-US"/>
          <a:t>Don't touch</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598721-3323-42CB-96FB-C6D7D9D2061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2FF977-0234-4542-94AE-376F45A8E7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726CFF9-B101-4D5A-AE5F-81BC4D91C170}" type="datetimeFigureOut">
              <a:rPr lang="en-US" smtClean="0"/>
              <a:t>6/27/2025</a:t>
            </a:fld>
            <a:endParaRPr lang="en-US"/>
          </a:p>
        </p:txBody>
      </p:sp>
      <p:sp>
        <p:nvSpPr>
          <p:cNvPr id="4" name="Footer Placeholder 3">
            <a:extLst>
              <a:ext uri="{FF2B5EF4-FFF2-40B4-BE49-F238E27FC236}">
                <a16:creationId xmlns:a16="http://schemas.microsoft.com/office/drawing/2014/main" id="{692DC7A7-567A-4A18-A303-6ED5E91C673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C55533-4890-43A5-8A14-C9DE3F25618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C57C73-0239-4725-8F06-3E607150BC40}" type="slidenum">
              <a:rPr lang="en-US" smtClean="0"/>
              <a:t>‹#›</a:t>
            </a:fld>
            <a:endParaRPr lang="en-US"/>
          </a:p>
        </p:txBody>
      </p:sp>
    </p:spTree>
    <p:extLst>
      <p:ext uri="{BB962C8B-B14F-4D97-AF65-F5344CB8AC3E}">
        <p14:creationId xmlns:p14="http://schemas.microsoft.com/office/powerpoint/2010/main" val="958957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AA0C4-695F-4136-A1C4-C28E233376CC}" type="datetimeFigureOut">
              <a:rPr lang="en-US" smtClean="0"/>
              <a:t>6/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0284F-7E88-4545-9BB2-221688BE3F3A}" type="slidenum">
              <a:rPr lang="en-US" smtClean="0"/>
              <a:t>‹#›</a:t>
            </a:fld>
            <a:endParaRPr lang="en-US"/>
          </a:p>
        </p:txBody>
      </p:sp>
    </p:spTree>
    <p:extLst>
      <p:ext uri="{BB962C8B-B14F-4D97-AF65-F5344CB8AC3E}">
        <p14:creationId xmlns:p14="http://schemas.microsoft.com/office/powerpoint/2010/main" val="1115178273"/>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b="1" kern="1200">
        <a:solidFill>
          <a:schemeClr val="tx1"/>
        </a:solidFill>
        <a:latin typeface="+mn-lt"/>
        <a:ea typeface="+mn-ea"/>
        <a:cs typeface="+mn-cs"/>
      </a:defRPr>
    </a:lvl1pPr>
    <a:lvl2pPr marL="0" indent="0" algn="l" defTabSz="914400" rtl="0" eaLnBrk="1" latinLnBrk="0" hangingPunct="1">
      <a:spcAft>
        <a:spcPts val="600"/>
      </a:spcAft>
      <a:defRPr sz="1200" kern="1200">
        <a:solidFill>
          <a:schemeClr val="tx1"/>
        </a:solidFill>
        <a:latin typeface="+mn-lt"/>
        <a:ea typeface="+mn-ea"/>
        <a:cs typeface="+mn-cs"/>
      </a:defRPr>
    </a:lvl2pPr>
    <a:lvl3pPr marL="171450" indent="-17145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3pPr>
    <a:lvl4pPr marL="400050" indent="-17145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30238" indent="-171450" algn="l" defTabSz="914400" rtl="0" eaLnBrk="1" latinLnBrk="0" hangingPunct="1">
      <a:spcAft>
        <a:spcPts val="600"/>
      </a:spcAft>
      <a:buFont typeface="Arial" panose="020B0604020202020204" pitchFamily="34" charset="0"/>
      <a:buChar char="•"/>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930535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CFC7C-1D22-381A-4182-E093072EEA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A8D468-DC8B-EA22-2302-D1E8DEA698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34DB92-017F-FBF7-E475-577FB163C2E2}"/>
              </a:ext>
            </a:extLst>
          </p:cNvPr>
          <p:cNvSpPr>
            <a:spLocks noGrp="1"/>
          </p:cNvSpPr>
          <p:nvPr>
            <p:ph type="body" idx="1"/>
          </p:nvPr>
        </p:nvSpPr>
        <p:spPr/>
        <p:txBody>
          <a:bodyPr/>
          <a:lstStyle/>
          <a:p>
            <a:pPr marR="0" lvl="0" algn="l" defTabSz="685800" rtl="0" eaLnBrk="1" fontAlgn="auto" latinLnBrk="0" hangingPunct="1">
              <a:lnSpc>
                <a:spcPct val="100000"/>
              </a:lnSpc>
              <a:spcBef>
                <a:spcPts val="0"/>
              </a:spcBef>
              <a:spcAft>
                <a:spcPts val="600"/>
              </a:spcAft>
              <a:buClrTx/>
              <a:buSzTx/>
              <a:defRPr/>
            </a:pPr>
            <a:r>
              <a:rPr kumimoji="0" lang="en-GB" sz="1200" b="1" i="0" u="none" strike="noStrike" kern="1200" cap="none" spc="0" normalizeH="0" baseline="0" noProof="0">
                <a:ln>
                  <a:noFill/>
                </a:ln>
                <a:solidFill>
                  <a:schemeClr val="bg1"/>
                </a:solidFill>
                <a:effectLst/>
                <a:uLnTx/>
                <a:uFillTx/>
                <a:latin typeface="Arial"/>
                <a:ea typeface="+mn-ea"/>
                <a:cs typeface="+mn-cs"/>
              </a:rPr>
              <a:t>Remote Building Manager  </a:t>
            </a:r>
            <a:r>
              <a:rPr kumimoji="0" lang="en-GB" sz="1200" b="0" i="0" u="none" strike="noStrike" kern="1200" cap="none" spc="0" normalizeH="0" baseline="0" noProof="0">
                <a:ln>
                  <a:noFill/>
                </a:ln>
                <a:solidFill>
                  <a:schemeClr val="bg1"/>
                </a:solidFill>
                <a:effectLst/>
                <a:uLnTx/>
                <a:uFillTx/>
                <a:latin typeface="Arial"/>
                <a:ea typeface="+mn-ea"/>
                <a:cs typeface="+mn-cs"/>
              </a:rPr>
              <a:t>- </a:t>
            </a:r>
            <a:r>
              <a:rPr lang="en-GB" sz="1200">
                <a:solidFill>
                  <a:schemeClr val="bg1"/>
                </a:solidFill>
                <a:latin typeface="Arial"/>
              </a:rPr>
              <a:t>Cloud </a:t>
            </a:r>
            <a:r>
              <a:rPr kumimoji="0" lang="en-GB" sz="1200" b="0" i="0" u="none" strike="noStrike" kern="1200" cap="none" spc="0" normalizeH="0" baseline="0" noProof="0">
                <a:ln>
                  <a:noFill/>
                </a:ln>
                <a:solidFill>
                  <a:schemeClr val="bg1"/>
                </a:solidFill>
                <a:effectLst/>
                <a:uLnTx/>
                <a:uFillTx/>
                <a:latin typeface="Arial"/>
                <a:ea typeface="+mn-ea"/>
                <a:cs typeface="+mn-cs"/>
              </a:rPr>
              <a:t>supervisor enabling </a:t>
            </a:r>
            <a:r>
              <a:rPr lang="en-US" sz="1200" b="0" kern="100">
                <a:solidFill>
                  <a:schemeClr val="bg1"/>
                </a:solidFill>
                <a:effectLst/>
                <a:latin typeface="Arial"/>
                <a:ea typeface="Aptos" panose="020B0004020202020204" pitchFamily="34" charset="0"/>
                <a:cs typeface="Arial"/>
              </a:rPr>
              <a:t>building owners to </a:t>
            </a:r>
            <a:r>
              <a:rPr kumimoji="0" lang="en-GB" sz="1200" b="0" i="0" u="none" strike="noStrike" kern="1200" cap="none" spc="0" normalizeH="0" baseline="0" noProof="0">
                <a:ln>
                  <a:noFill/>
                </a:ln>
                <a:solidFill>
                  <a:schemeClr val="bg1"/>
                </a:solidFill>
                <a:effectLst/>
                <a:uLnTx/>
                <a:uFillTx/>
                <a:latin typeface="Arial"/>
                <a:ea typeface="+mn-ea"/>
                <a:cs typeface="+mn-cs"/>
              </a:rPr>
              <a:t>monitoring &amp; control </a:t>
            </a:r>
            <a:r>
              <a:rPr lang="en-US" sz="1200" b="0" kern="100">
                <a:solidFill>
                  <a:schemeClr val="bg1"/>
                </a:solidFill>
                <a:effectLst/>
                <a:latin typeface="Arial"/>
                <a:ea typeface="Aptos" panose="020B0004020202020204" pitchFamily="34" charset="0"/>
                <a:cs typeface="Arial"/>
              </a:rPr>
              <a:t>equipment, manage energy, remotely. </a:t>
            </a:r>
            <a:endParaRPr lang="en-GB" sz="1200">
              <a:solidFill>
                <a:schemeClr val="bg1"/>
              </a:solidFill>
              <a:latin typeface="Arial"/>
            </a:endParaRPr>
          </a:p>
          <a:p>
            <a:pPr marR="0" lvl="0" algn="l" defTabSz="685800" rtl="0" eaLnBrk="1" fontAlgn="auto" latinLnBrk="0" hangingPunct="1">
              <a:lnSpc>
                <a:spcPct val="100000"/>
              </a:lnSpc>
              <a:spcBef>
                <a:spcPts val="0"/>
              </a:spcBef>
              <a:spcAft>
                <a:spcPts val="600"/>
              </a:spcAft>
              <a:buClrTx/>
              <a:buSzTx/>
              <a:defRPr/>
            </a:pPr>
            <a:r>
              <a:rPr kumimoji="0" lang="en-GB" sz="1200" b="1" i="0" u="none" strike="noStrike" kern="1200" cap="none" spc="0" normalizeH="0" baseline="0" noProof="0">
                <a:ln>
                  <a:noFill/>
                </a:ln>
                <a:solidFill>
                  <a:schemeClr val="bg1"/>
                </a:solidFill>
                <a:effectLst/>
                <a:uLnTx/>
                <a:uFillTx/>
                <a:latin typeface="Arial"/>
                <a:ea typeface="+mn-ea"/>
                <a:cs typeface="+mn-cs"/>
              </a:rPr>
              <a:t>Obsolescence assessment </a:t>
            </a:r>
            <a:r>
              <a:rPr kumimoji="0" lang="en-GB" sz="1200" b="0" i="0" u="none" strike="noStrike" kern="1200" cap="none" spc="0" normalizeH="0" baseline="0" noProof="0">
                <a:ln>
                  <a:noFill/>
                </a:ln>
                <a:solidFill>
                  <a:schemeClr val="bg1"/>
                </a:solidFill>
                <a:effectLst/>
                <a:uLnTx/>
                <a:uFillTx/>
                <a:latin typeface="Arial"/>
                <a:ea typeface="+mn-ea"/>
                <a:cs typeface="+mn-cs"/>
              </a:rPr>
              <a:t>- </a:t>
            </a:r>
            <a:r>
              <a:rPr kumimoji="0" lang="en-US" sz="1200" i="0" u="none" strike="noStrike" kern="100" cap="none" spc="0" normalizeH="0" baseline="0" noProof="0">
                <a:ln>
                  <a:noFill/>
                </a:ln>
                <a:solidFill>
                  <a:schemeClr val="bg1"/>
                </a:solidFill>
                <a:uLnTx/>
                <a:uFillTx/>
                <a:latin typeface="Arial" panose="020B0604020202020204" pitchFamily="34" charset="0"/>
                <a:cs typeface="Times New Roman" panose="02020603050405020304" pitchFamily="18" charset="0"/>
              </a:rPr>
              <a:t>S</a:t>
            </a:r>
            <a:r>
              <a:rPr lang="en-US" sz="1200" b="0" kern="100" err="1">
                <a:solidFill>
                  <a:schemeClr val="bg1"/>
                </a:solidFill>
                <a:effectLst/>
                <a:latin typeface="Arial" panose="020B0604020202020204" pitchFamily="34" charset="0"/>
                <a:ea typeface="Aptos" panose="020B0004020202020204" pitchFamily="34" charset="0"/>
                <a:cs typeface="Times New Roman" panose="02020603050405020304" pitchFamily="18" charset="0"/>
              </a:rPr>
              <a:t>treamline</a:t>
            </a:r>
            <a:r>
              <a:rPr lang="en-US" sz="1200" b="0" kern="100">
                <a:solidFill>
                  <a:schemeClr val="bg1"/>
                </a:solidFill>
                <a:effectLst/>
                <a:latin typeface="Arial" panose="020B0604020202020204" pitchFamily="34" charset="0"/>
                <a:ea typeface="Aptos" panose="020B0004020202020204" pitchFamily="34" charset="0"/>
                <a:cs typeface="Times New Roman" panose="02020603050405020304" pitchFamily="18" charset="0"/>
              </a:rPr>
              <a:t> the lifecycle management process for your building's controls infrastructure, thereby mitigating the risk of failures and enhancing security. </a:t>
            </a:r>
            <a:endParaRPr kumimoji="0" lang="en-GB" sz="1200" b="0" i="0" u="none" strike="noStrike" kern="1200" cap="none" spc="0" normalizeH="0" baseline="0" noProof="0">
              <a:ln>
                <a:noFill/>
              </a:ln>
              <a:solidFill>
                <a:schemeClr val="bg1"/>
              </a:solidFill>
              <a:effectLst/>
              <a:uLnTx/>
              <a:uFillTx/>
              <a:latin typeface="Arial"/>
              <a:ea typeface="+mn-ea"/>
              <a:cs typeface="+mn-cs"/>
            </a:endParaRPr>
          </a:p>
          <a:p>
            <a:pPr marR="0" lvl="0" algn="l" defTabSz="685800" rtl="0" eaLnBrk="1" fontAlgn="auto" latinLnBrk="0" hangingPunct="1">
              <a:lnSpc>
                <a:spcPct val="100000"/>
              </a:lnSpc>
              <a:spcBef>
                <a:spcPts val="0"/>
              </a:spcBef>
              <a:spcAft>
                <a:spcPts val="600"/>
              </a:spcAft>
              <a:buClrTx/>
              <a:buSzTx/>
              <a:defRPr/>
            </a:pPr>
            <a:r>
              <a:rPr kumimoji="0" lang="en-GB" sz="1200" b="1" i="0" u="none" strike="noStrike" kern="1200" cap="none" spc="0" normalizeH="0" baseline="0" noProof="0">
                <a:ln>
                  <a:noFill/>
                </a:ln>
                <a:solidFill>
                  <a:schemeClr val="bg1"/>
                </a:solidFill>
                <a:effectLst/>
                <a:uLnTx/>
                <a:uFillTx/>
                <a:latin typeface="Arial"/>
                <a:ea typeface="+mn-ea"/>
                <a:cs typeface="+mn-cs"/>
              </a:rPr>
              <a:t>Opportunity Assessment </a:t>
            </a:r>
            <a:r>
              <a:rPr kumimoji="0" lang="en-GB" sz="1200" b="0" i="0" u="none" strike="noStrike" kern="1200" cap="none" spc="0" normalizeH="0" baseline="0" noProof="0">
                <a:ln>
                  <a:noFill/>
                </a:ln>
                <a:solidFill>
                  <a:schemeClr val="bg1"/>
                </a:solidFill>
                <a:effectLst/>
                <a:uLnTx/>
                <a:uFillTx/>
                <a:latin typeface="Arial"/>
                <a:ea typeface="+mn-ea"/>
                <a:cs typeface="+mn-cs"/>
              </a:rPr>
              <a:t>- </a:t>
            </a:r>
            <a:r>
              <a:rPr kumimoji="0" lang="en-US" sz="1200" i="0" u="none" strike="noStrike" kern="1200" cap="none" spc="0" normalizeH="0" baseline="0" noProof="0">
                <a:ln>
                  <a:noFill/>
                </a:ln>
                <a:solidFill>
                  <a:schemeClr val="bg1"/>
                </a:solidFill>
                <a:effectLst/>
                <a:uLnTx/>
                <a:uFillTx/>
                <a:latin typeface="Arial"/>
                <a:ea typeface="+mn-ea"/>
                <a:cs typeface="+mn-cs"/>
              </a:rPr>
              <a:t>I</a:t>
            </a:r>
            <a:r>
              <a:rPr lang="en-US" sz="1200" b="0" err="1">
                <a:solidFill>
                  <a:schemeClr val="bg1"/>
                </a:solidFill>
              </a:rPr>
              <a:t>dentifies</a:t>
            </a:r>
            <a:r>
              <a:rPr lang="en-US" sz="1200" b="0">
                <a:solidFill>
                  <a:schemeClr val="bg1"/>
                </a:solidFill>
              </a:rPr>
              <a:t> maintenance savings opportunities and finds energy savings potential through operational improvements.</a:t>
            </a:r>
            <a:endParaRPr kumimoji="0" lang="en-US" sz="1200" b="0" i="0" u="none" strike="noStrike" kern="1200" cap="none" spc="0" normalizeH="0" baseline="0" noProof="0">
              <a:ln>
                <a:noFill/>
              </a:ln>
              <a:solidFill>
                <a:schemeClr val="bg1"/>
              </a:solidFill>
              <a:effectLst/>
              <a:uLnTx/>
              <a:uFillTx/>
              <a:latin typeface="Arial"/>
              <a:ea typeface="+mn-ea"/>
              <a:cs typeface="+mn-cs"/>
            </a:endParaRPr>
          </a:p>
          <a:p>
            <a:endParaRPr lang="en-US"/>
          </a:p>
        </p:txBody>
      </p:sp>
      <p:sp>
        <p:nvSpPr>
          <p:cNvPr id="4" name="Slide Number Placeholder 3">
            <a:extLst>
              <a:ext uri="{FF2B5EF4-FFF2-40B4-BE49-F238E27FC236}">
                <a16:creationId xmlns:a16="http://schemas.microsoft.com/office/drawing/2014/main" id="{C7AB9431-493F-5502-43CF-8F6F8BBEB369}"/>
              </a:ext>
            </a:extLst>
          </p:cNvPr>
          <p:cNvSpPr>
            <a:spLocks noGrp="1"/>
          </p:cNvSpPr>
          <p:nvPr>
            <p:ph type="sldNum" sz="quarter" idx="5"/>
          </p:nvPr>
        </p:nvSpPr>
        <p:spPr/>
        <p:txBody>
          <a:bodyPr/>
          <a:lstStyle/>
          <a:p>
            <a:fld id="{0CFC8E62-97CA-4B9F-85D3-ED11FBB31E1D}" type="slidenum">
              <a:rPr lang="en-US" smtClean="0"/>
              <a:pPr/>
              <a:t>13</a:t>
            </a:fld>
            <a:endParaRPr lang="en-US"/>
          </a:p>
        </p:txBody>
      </p:sp>
    </p:spTree>
    <p:extLst>
      <p:ext uri="{BB962C8B-B14F-4D97-AF65-F5344CB8AC3E}">
        <p14:creationId xmlns:p14="http://schemas.microsoft.com/office/powerpoint/2010/main" val="6159203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5AE4A-AA6D-B6C6-E60B-DDFCF2036A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CFBFB1-68CA-4D78-DCD3-660DDDDBD7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89794A-03BB-E3CA-8442-3ED296E29C40}"/>
              </a:ext>
            </a:extLst>
          </p:cNvPr>
          <p:cNvSpPr>
            <a:spLocks noGrp="1"/>
          </p:cNvSpPr>
          <p:nvPr>
            <p:ph type="body" idx="1"/>
          </p:nvPr>
        </p:nvSpPr>
        <p:spPr/>
        <p:txBody>
          <a:bodyPr/>
          <a:lstStyle/>
          <a:p>
            <a:pPr marR="0" lvl="0" algn="l" defTabSz="685800" rtl="0" eaLnBrk="1" fontAlgn="auto" latinLnBrk="0" hangingPunct="1">
              <a:lnSpc>
                <a:spcPct val="100000"/>
              </a:lnSpc>
              <a:spcBef>
                <a:spcPts val="0"/>
              </a:spcBef>
              <a:spcAft>
                <a:spcPts val="600"/>
              </a:spcAft>
              <a:buClrTx/>
              <a:buSzTx/>
              <a:defRPr/>
            </a:pPr>
            <a:r>
              <a:rPr kumimoji="0" lang="en-GB" sz="1200" b="1" i="0" u="none" strike="noStrike" kern="1200" cap="none" spc="0" normalizeH="0" baseline="0" noProof="0">
                <a:ln>
                  <a:noFill/>
                </a:ln>
                <a:solidFill>
                  <a:schemeClr val="bg1"/>
                </a:solidFill>
                <a:effectLst/>
                <a:uLnTx/>
                <a:uFillTx/>
                <a:latin typeface="Arial"/>
                <a:ea typeface="+mn-ea"/>
                <a:cs typeface="+mn-cs"/>
              </a:rPr>
              <a:t>Remote Building Manager  </a:t>
            </a:r>
            <a:r>
              <a:rPr kumimoji="0" lang="en-GB" sz="1200" b="0" i="0" u="none" strike="noStrike" kern="1200" cap="none" spc="0" normalizeH="0" baseline="0" noProof="0">
                <a:ln>
                  <a:noFill/>
                </a:ln>
                <a:solidFill>
                  <a:schemeClr val="bg1"/>
                </a:solidFill>
                <a:effectLst/>
                <a:uLnTx/>
                <a:uFillTx/>
                <a:latin typeface="Arial"/>
                <a:ea typeface="+mn-ea"/>
                <a:cs typeface="+mn-cs"/>
              </a:rPr>
              <a:t>- </a:t>
            </a:r>
            <a:r>
              <a:rPr lang="en-GB" sz="1200">
                <a:solidFill>
                  <a:schemeClr val="bg1"/>
                </a:solidFill>
                <a:latin typeface="Arial"/>
              </a:rPr>
              <a:t>Cloud </a:t>
            </a:r>
            <a:r>
              <a:rPr kumimoji="0" lang="en-GB" sz="1200" b="0" i="0" u="none" strike="noStrike" kern="1200" cap="none" spc="0" normalizeH="0" baseline="0" noProof="0">
                <a:ln>
                  <a:noFill/>
                </a:ln>
                <a:solidFill>
                  <a:schemeClr val="bg1"/>
                </a:solidFill>
                <a:effectLst/>
                <a:uLnTx/>
                <a:uFillTx/>
                <a:latin typeface="Arial"/>
                <a:ea typeface="+mn-ea"/>
                <a:cs typeface="+mn-cs"/>
              </a:rPr>
              <a:t>supervisor enabling </a:t>
            </a:r>
            <a:r>
              <a:rPr lang="en-US" sz="1200" b="0" kern="100">
                <a:solidFill>
                  <a:schemeClr val="bg1"/>
                </a:solidFill>
                <a:effectLst/>
                <a:latin typeface="Arial"/>
                <a:ea typeface="Aptos" panose="020B0004020202020204" pitchFamily="34" charset="0"/>
                <a:cs typeface="Arial"/>
              </a:rPr>
              <a:t>building owners to </a:t>
            </a:r>
            <a:r>
              <a:rPr kumimoji="0" lang="en-GB" sz="1200" b="0" i="0" u="none" strike="noStrike" kern="1200" cap="none" spc="0" normalizeH="0" baseline="0" noProof="0">
                <a:ln>
                  <a:noFill/>
                </a:ln>
                <a:solidFill>
                  <a:schemeClr val="bg1"/>
                </a:solidFill>
                <a:effectLst/>
                <a:uLnTx/>
                <a:uFillTx/>
                <a:latin typeface="Arial"/>
                <a:ea typeface="+mn-ea"/>
                <a:cs typeface="+mn-cs"/>
              </a:rPr>
              <a:t>monitoring &amp; control </a:t>
            </a:r>
            <a:r>
              <a:rPr lang="en-US" sz="1200" b="0" kern="100">
                <a:solidFill>
                  <a:schemeClr val="bg1"/>
                </a:solidFill>
                <a:effectLst/>
                <a:latin typeface="Arial"/>
                <a:ea typeface="Aptos" panose="020B0004020202020204" pitchFamily="34" charset="0"/>
                <a:cs typeface="Arial"/>
              </a:rPr>
              <a:t>equipment, manage energy, remotely. </a:t>
            </a:r>
            <a:endParaRPr lang="en-GB" sz="1200">
              <a:solidFill>
                <a:schemeClr val="bg1"/>
              </a:solidFill>
              <a:latin typeface="Arial"/>
            </a:endParaRPr>
          </a:p>
          <a:p>
            <a:pPr marR="0" lvl="0" algn="l" defTabSz="685800" rtl="0" eaLnBrk="1" fontAlgn="auto" latinLnBrk="0" hangingPunct="1">
              <a:lnSpc>
                <a:spcPct val="100000"/>
              </a:lnSpc>
              <a:spcBef>
                <a:spcPts val="0"/>
              </a:spcBef>
              <a:spcAft>
                <a:spcPts val="600"/>
              </a:spcAft>
              <a:buClrTx/>
              <a:buSzTx/>
              <a:defRPr/>
            </a:pPr>
            <a:r>
              <a:rPr kumimoji="0" lang="en-GB" sz="1200" b="1" i="0" u="none" strike="noStrike" kern="1200" cap="none" spc="0" normalizeH="0" baseline="0" noProof="0">
                <a:ln>
                  <a:noFill/>
                </a:ln>
                <a:solidFill>
                  <a:schemeClr val="bg1"/>
                </a:solidFill>
                <a:effectLst/>
                <a:uLnTx/>
                <a:uFillTx/>
                <a:latin typeface="Arial"/>
                <a:ea typeface="+mn-ea"/>
                <a:cs typeface="+mn-cs"/>
              </a:rPr>
              <a:t>Obsolescence assessment </a:t>
            </a:r>
            <a:r>
              <a:rPr kumimoji="0" lang="en-GB" sz="1200" b="0" i="0" u="none" strike="noStrike" kern="1200" cap="none" spc="0" normalizeH="0" baseline="0" noProof="0">
                <a:ln>
                  <a:noFill/>
                </a:ln>
                <a:solidFill>
                  <a:schemeClr val="bg1"/>
                </a:solidFill>
                <a:effectLst/>
                <a:uLnTx/>
                <a:uFillTx/>
                <a:latin typeface="Arial"/>
                <a:ea typeface="+mn-ea"/>
                <a:cs typeface="+mn-cs"/>
              </a:rPr>
              <a:t>- </a:t>
            </a:r>
            <a:r>
              <a:rPr kumimoji="0" lang="en-US" sz="1200" i="0" u="none" strike="noStrike" kern="100" cap="none" spc="0" normalizeH="0" baseline="0" noProof="0">
                <a:ln>
                  <a:noFill/>
                </a:ln>
                <a:solidFill>
                  <a:schemeClr val="bg1"/>
                </a:solidFill>
                <a:uLnTx/>
                <a:uFillTx/>
                <a:latin typeface="Arial" panose="020B0604020202020204" pitchFamily="34" charset="0"/>
                <a:cs typeface="Times New Roman" panose="02020603050405020304" pitchFamily="18" charset="0"/>
              </a:rPr>
              <a:t>S</a:t>
            </a:r>
            <a:r>
              <a:rPr lang="en-US" sz="1200" b="0" kern="100" err="1">
                <a:solidFill>
                  <a:schemeClr val="bg1"/>
                </a:solidFill>
                <a:effectLst/>
                <a:latin typeface="Arial" panose="020B0604020202020204" pitchFamily="34" charset="0"/>
                <a:ea typeface="Aptos" panose="020B0004020202020204" pitchFamily="34" charset="0"/>
                <a:cs typeface="Times New Roman" panose="02020603050405020304" pitchFamily="18" charset="0"/>
              </a:rPr>
              <a:t>treamline</a:t>
            </a:r>
            <a:r>
              <a:rPr lang="en-US" sz="1200" b="0" kern="100">
                <a:solidFill>
                  <a:schemeClr val="bg1"/>
                </a:solidFill>
                <a:effectLst/>
                <a:latin typeface="Arial" panose="020B0604020202020204" pitchFamily="34" charset="0"/>
                <a:ea typeface="Aptos" panose="020B0004020202020204" pitchFamily="34" charset="0"/>
                <a:cs typeface="Times New Roman" panose="02020603050405020304" pitchFamily="18" charset="0"/>
              </a:rPr>
              <a:t> the lifecycle management process for your building's controls infrastructure, thereby mitigating the risk of failures and enhancing security. </a:t>
            </a:r>
            <a:endParaRPr kumimoji="0" lang="en-GB" sz="1200" b="0" i="0" u="none" strike="noStrike" kern="1200" cap="none" spc="0" normalizeH="0" baseline="0" noProof="0">
              <a:ln>
                <a:noFill/>
              </a:ln>
              <a:solidFill>
                <a:schemeClr val="bg1"/>
              </a:solidFill>
              <a:effectLst/>
              <a:uLnTx/>
              <a:uFillTx/>
              <a:latin typeface="Arial"/>
              <a:ea typeface="+mn-ea"/>
              <a:cs typeface="+mn-cs"/>
            </a:endParaRPr>
          </a:p>
          <a:p>
            <a:pPr marR="0" lvl="0" algn="l" defTabSz="685800" rtl="0" eaLnBrk="1" fontAlgn="auto" latinLnBrk="0" hangingPunct="1">
              <a:lnSpc>
                <a:spcPct val="100000"/>
              </a:lnSpc>
              <a:spcBef>
                <a:spcPts val="0"/>
              </a:spcBef>
              <a:spcAft>
                <a:spcPts val="600"/>
              </a:spcAft>
              <a:buClrTx/>
              <a:buSzTx/>
              <a:defRPr/>
            </a:pPr>
            <a:r>
              <a:rPr kumimoji="0" lang="en-GB" sz="1200" b="1" i="0" u="none" strike="noStrike" kern="1200" cap="none" spc="0" normalizeH="0" baseline="0" noProof="0">
                <a:ln>
                  <a:noFill/>
                </a:ln>
                <a:solidFill>
                  <a:schemeClr val="bg1"/>
                </a:solidFill>
                <a:effectLst/>
                <a:uLnTx/>
                <a:uFillTx/>
                <a:latin typeface="Arial"/>
                <a:ea typeface="+mn-ea"/>
                <a:cs typeface="+mn-cs"/>
              </a:rPr>
              <a:t>Opportunity Assessment </a:t>
            </a:r>
            <a:r>
              <a:rPr kumimoji="0" lang="en-GB" sz="1200" b="0" i="0" u="none" strike="noStrike" kern="1200" cap="none" spc="0" normalizeH="0" baseline="0" noProof="0">
                <a:ln>
                  <a:noFill/>
                </a:ln>
                <a:solidFill>
                  <a:schemeClr val="bg1"/>
                </a:solidFill>
                <a:effectLst/>
                <a:uLnTx/>
                <a:uFillTx/>
                <a:latin typeface="Arial"/>
                <a:ea typeface="+mn-ea"/>
                <a:cs typeface="+mn-cs"/>
              </a:rPr>
              <a:t>- </a:t>
            </a:r>
            <a:r>
              <a:rPr kumimoji="0" lang="en-US" sz="1200" i="0" u="none" strike="noStrike" kern="1200" cap="none" spc="0" normalizeH="0" baseline="0" noProof="0">
                <a:ln>
                  <a:noFill/>
                </a:ln>
                <a:solidFill>
                  <a:schemeClr val="bg1"/>
                </a:solidFill>
                <a:effectLst/>
                <a:uLnTx/>
                <a:uFillTx/>
                <a:latin typeface="Arial"/>
                <a:ea typeface="+mn-ea"/>
                <a:cs typeface="+mn-cs"/>
              </a:rPr>
              <a:t>I</a:t>
            </a:r>
            <a:r>
              <a:rPr lang="en-US" sz="1200" b="0" err="1">
                <a:solidFill>
                  <a:schemeClr val="bg1"/>
                </a:solidFill>
              </a:rPr>
              <a:t>dentifies</a:t>
            </a:r>
            <a:r>
              <a:rPr lang="en-US" sz="1200" b="0">
                <a:solidFill>
                  <a:schemeClr val="bg1"/>
                </a:solidFill>
              </a:rPr>
              <a:t> maintenance savings opportunities and finds energy savings potential through operational improvements.</a:t>
            </a:r>
            <a:endParaRPr kumimoji="0" lang="en-US" sz="1200" b="0" i="0" u="none" strike="noStrike" kern="1200" cap="none" spc="0" normalizeH="0" baseline="0" noProof="0">
              <a:ln>
                <a:noFill/>
              </a:ln>
              <a:solidFill>
                <a:schemeClr val="bg1"/>
              </a:solidFill>
              <a:effectLst/>
              <a:uLnTx/>
              <a:uFillTx/>
              <a:latin typeface="Arial"/>
              <a:ea typeface="+mn-ea"/>
              <a:cs typeface="+mn-cs"/>
            </a:endParaRPr>
          </a:p>
          <a:p>
            <a:pPr>
              <a:defRPr/>
            </a:pPr>
            <a:endParaRPr lang="en-US"/>
          </a:p>
        </p:txBody>
      </p:sp>
      <p:sp>
        <p:nvSpPr>
          <p:cNvPr id="4" name="Slide Number Placeholder 3">
            <a:extLst>
              <a:ext uri="{FF2B5EF4-FFF2-40B4-BE49-F238E27FC236}">
                <a16:creationId xmlns:a16="http://schemas.microsoft.com/office/drawing/2014/main" id="{9E47D426-E581-A135-C713-B003D7CB6F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D5A06-1BCF-4EA9-AD40-EFAC54EAE03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6031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1BDF8-2E49-4021-F248-8C9B81BFB6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B3073F-EE75-6BFF-7F88-5FB34D030B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44A693-3B74-106A-AA17-301D1265524C}"/>
              </a:ext>
            </a:extLst>
          </p:cNvPr>
          <p:cNvSpPr>
            <a:spLocks noGrp="1"/>
          </p:cNvSpPr>
          <p:nvPr>
            <p:ph type="body" idx="1"/>
          </p:nvPr>
        </p:nvSpPr>
        <p:spPr/>
        <p:txBody>
          <a:bodyPr/>
          <a:lstStyle/>
          <a:p>
            <a:r>
              <a:rPr lang="en-GB">
                <a:solidFill>
                  <a:schemeClr val="bg1"/>
                </a:solidFill>
              </a:rPr>
              <a:t>Carbon &amp; Energy Management</a:t>
            </a:r>
          </a:p>
          <a:p>
            <a:r>
              <a:rPr lang="en-GB">
                <a:solidFill>
                  <a:schemeClr val="bg1"/>
                </a:solidFill>
              </a:rPr>
              <a:t>Monitor Package</a:t>
            </a:r>
          </a:p>
          <a:p>
            <a:pPr marL="0" marR="0">
              <a:lnSpc>
                <a:spcPct val="107000"/>
              </a:lnSpc>
              <a:spcAft>
                <a:spcPts val="800"/>
              </a:spcAft>
            </a:pPr>
            <a:r>
              <a:rPr lang="en-US" sz="1200" b="0" kern="100">
                <a:solidFill>
                  <a:schemeClr val="bg1"/>
                </a:solidFill>
                <a:effectLst/>
                <a:latin typeface="Aptos" panose="020B0004020202020204" pitchFamily="34" charset="0"/>
                <a:ea typeface="Aptos" panose="020B0004020202020204" pitchFamily="34" charset="0"/>
                <a:cs typeface="Arial" panose="020B0604020202020204" pitchFamily="34" charset="0"/>
              </a:rPr>
              <a:t>Carbon &amp; Energy Management Monitor  Package is an application that's ready now to help customers address two pressing, yet often conflicting objectives:  maintain occupant comfort and reducing the environmental impact of buildings with the aim of improving </a:t>
            </a:r>
            <a:r>
              <a:rPr lang="en-US" sz="1200" kern="100">
                <a:solidFill>
                  <a:schemeClr val="bg1"/>
                </a:solidFill>
                <a:effectLst/>
                <a:latin typeface="Aptos" panose="020B0004020202020204" pitchFamily="34" charset="0"/>
                <a:ea typeface="Aptos" panose="020B0004020202020204" pitchFamily="34" charset="0"/>
                <a:cs typeface="Arial" panose="020B0604020202020204" pitchFamily="34" charset="0"/>
              </a:rPr>
              <a:t>carbon-reduction goals.</a:t>
            </a:r>
          </a:p>
          <a:p>
            <a:pPr marL="0" marR="0">
              <a:lnSpc>
                <a:spcPct val="107000"/>
              </a:lnSpc>
              <a:spcAft>
                <a:spcPts val="800"/>
              </a:spcAft>
            </a:pPr>
            <a:endParaRPr lang="en-US" sz="1200" kern="100">
              <a:solidFill>
                <a:schemeClr val="bg1"/>
              </a:solidFill>
              <a:effectLst/>
              <a:latin typeface="Aptos" panose="020B0004020202020204" pitchFamily="34" charset="0"/>
              <a:ea typeface="Aptos" panose="020B0004020202020204" pitchFamily="34" charset="0"/>
              <a:cs typeface="Arial" panose="020B0604020202020204" pitchFamily="34" charset="0"/>
            </a:endParaRPr>
          </a:p>
          <a:p>
            <a:r>
              <a:rPr lang="en-GB">
                <a:solidFill>
                  <a:schemeClr val="bg1"/>
                </a:solidFill>
              </a:rPr>
              <a:t>Connected Power</a:t>
            </a:r>
          </a:p>
          <a:p>
            <a:r>
              <a:rPr lang="en-US" sz="1200" b="0" kern="100">
                <a:solidFill>
                  <a:schemeClr val="bg1"/>
                </a:solidFill>
                <a:latin typeface="Arial" panose="020B0604020202020204" pitchFamily="34" charset="0"/>
                <a:cs typeface="Arial" panose="020B0604020202020204" pitchFamily="34" charset="0"/>
              </a:rPr>
              <a:t>Our Honeywell Building Operations teams offer remote functional tests as part of planned maintenance, based on SFG 20 service plans. Detailed service reports are generated, including necessary repair, replacement, and performance improvement plans</a:t>
            </a:r>
          </a:p>
          <a:p>
            <a:endParaRPr lang="en-US" sz="1200" b="0" kern="100">
              <a:solidFill>
                <a:schemeClr val="bg1"/>
              </a:solidFill>
              <a:latin typeface="Arial" panose="020B0604020202020204" pitchFamily="34" charset="0"/>
              <a:cs typeface="Arial" panose="020B0604020202020204" pitchFamily="34" charset="0"/>
            </a:endParaRPr>
          </a:p>
          <a:p>
            <a:r>
              <a:rPr lang="en-US" b="1" i="0">
                <a:solidFill>
                  <a:schemeClr val="bg1"/>
                </a:solidFill>
                <a:effectLst/>
              </a:rPr>
              <a:t>Carbon &amp; Energy Management Optimize Package</a:t>
            </a:r>
            <a:r>
              <a:rPr lang="en-US">
                <a:solidFill>
                  <a:schemeClr val="bg1"/>
                </a:solidFill>
              </a:rPr>
              <a:t> (coming soon)</a:t>
            </a:r>
            <a:endParaRPr lang="en-US" b="1" i="0">
              <a:solidFill>
                <a:schemeClr val="bg1"/>
              </a:solidFill>
              <a:effectLst/>
            </a:endParaRPr>
          </a:p>
          <a:p>
            <a:pPr marL="0" marR="0">
              <a:lnSpc>
                <a:spcPct val="107000"/>
              </a:lnSpc>
              <a:spcAft>
                <a:spcPts val="800"/>
              </a:spcAft>
            </a:pPr>
            <a:r>
              <a:rPr lang="en-US" sz="1200" b="0" kern="100">
                <a:solidFill>
                  <a:schemeClr val="bg1"/>
                </a:solidFill>
                <a:effectLst/>
                <a:latin typeface="Aptos" panose="020B0004020202020204" pitchFamily="34" charset="0"/>
                <a:ea typeface="Aptos" panose="020B0004020202020204" pitchFamily="34" charset="0"/>
                <a:cs typeface="Arial" panose="020B0604020202020204" pitchFamily="34" charset="0"/>
              </a:rPr>
              <a:t>Carbon &amp; Energy Management Monitor  Package </a:t>
            </a:r>
            <a:r>
              <a:rPr lang="en-US" sz="1200" kern="100">
                <a:solidFill>
                  <a:schemeClr val="bg1"/>
                </a:solidFill>
                <a:effectLst/>
                <a:latin typeface="Aptos" panose="020B0004020202020204" pitchFamily="34" charset="0"/>
                <a:ea typeface="Aptos" panose="020B0004020202020204" pitchFamily="34" charset="0"/>
                <a:cs typeface="Arial" panose="020B0604020202020204" pitchFamily="34" charset="0"/>
              </a:rPr>
              <a:t>The scalable, system-agnostic platform uses advanced controls capabilities use artificial intelligence (AI) and machine learning (ML) algorithms to create a baseline of energy consumption and carbon emissions across building assets and can help monitor, control and optimize those assets.</a:t>
            </a:r>
          </a:p>
          <a:p>
            <a:endParaRPr lang="en-US" sz="1200"/>
          </a:p>
          <a:p>
            <a:pPr marL="0" marR="0">
              <a:lnSpc>
                <a:spcPct val="107000"/>
              </a:lnSpc>
              <a:spcAft>
                <a:spcPts val="800"/>
              </a:spcAft>
            </a:pPr>
            <a:endParaRPr lang="en-US" sz="1200" kern="100">
              <a:solidFill>
                <a:schemeClr val="bg1"/>
              </a:solidFill>
              <a:effectLst/>
              <a:latin typeface="Aptos" panose="020B0004020202020204" pitchFamily="34" charset="0"/>
              <a:ea typeface="Aptos" panose="020B0004020202020204" pitchFamily="34" charset="0"/>
              <a:cs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247F4902-CD77-98E5-17BA-46F1B381B3F9}"/>
              </a:ext>
            </a:extLst>
          </p:cNvPr>
          <p:cNvSpPr>
            <a:spLocks noGrp="1"/>
          </p:cNvSpPr>
          <p:nvPr>
            <p:ph type="sldNum" sz="quarter" idx="5"/>
          </p:nvPr>
        </p:nvSpPr>
        <p:spPr/>
        <p:txBody>
          <a:bodyPr/>
          <a:lstStyle/>
          <a:p>
            <a:fld id="{0CFC8E62-97CA-4B9F-85D3-ED11FBB31E1D}" type="slidenum">
              <a:rPr lang="en-US" smtClean="0"/>
              <a:pPr/>
              <a:t>15</a:t>
            </a:fld>
            <a:endParaRPr lang="en-US"/>
          </a:p>
        </p:txBody>
      </p:sp>
    </p:spTree>
    <p:extLst>
      <p:ext uri="{BB962C8B-B14F-4D97-AF65-F5344CB8AC3E}">
        <p14:creationId xmlns:p14="http://schemas.microsoft.com/office/powerpoint/2010/main" val="41612738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A861E-9DF6-06FD-7D98-FEFC0F478E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4C7AA7-6C42-3BAD-25BA-6E7E278070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5752EC-934C-393B-26BF-7D2CCA6A917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BF0E63-42B0-7FFB-7C7C-7CBB91EF0B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E1BE30-486B-6847-AF23-E24ED9229B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869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21299-A8F6-AC06-610F-1C8C419E9A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5CB863-4484-ECD1-BAB3-C89E3D950FE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F60698E8-B42F-488D-0C0F-9B342A649E2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AB19EE2-17C2-986A-6612-1209A532673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359002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C9A1F8C-2280-477C-A8E4-7CA3879C7F1D}" type="slidenum">
              <a:rPr lang="en-US" smtClean="0"/>
              <a:t>19</a:t>
            </a:fld>
            <a:endParaRPr lang="en-US"/>
          </a:p>
        </p:txBody>
      </p:sp>
    </p:spTree>
    <p:extLst>
      <p:ext uri="{BB962C8B-B14F-4D97-AF65-F5344CB8AC3E}">
        <p14:creationId xmlns:p14="http://schemas.microsoft.com/office/powerpoint/2010/main" val="18235405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5888" indent="-115888">
              <a:lnSpc>
                <a:spcPct val="120000"/>
              </a:lnSpc>
              <a:spcAft>
                <a:spcPts val="300"/>
              </a:spcAft>
              <a:buClr>
                <a:schemeClr val="accent1"/>
              </a:buClr>
              <a:buFont typeface="Arial" panose="020B0604020202020204" pitchFamily="34" charset="0"/>
              <a:buChar char="•"/>
              <a:defRPr/>
            </a:pPr>
            <a:r>
              <a:rPr lang="en-GB" sz="1200" b="1">
                <a:solidFill>
                  <a:prstClr val="black"/>
                </a:solidFill>
                <a:latin typeface="Arial"/>
              </a:rPr>
              <a:t>New Forge Gateway </a:t>
            </a:r>
            <a:r>
              <a:rPr lang="en-GB" sz="1200" b="0">
                <a:solidFill>
                  <a:prstClr val="black"/>
                </a:solidFill>
                <a:latin typeface="Arial"/>
              </a:rPr>
              <a:t>– Gateway supporting BACnet and Modbus protocols for up to 3000 points </a:t>
            </a:r>
            <a:endParaRPr kumimoji="0" lang="en-GB" sz="1200" b="0" i="0" u="none" strike="noStrike" kern="1200" cap="none" spc="0" normalizeH="0" baseline="0" noProof="0">
              <a:ln>
                <a:noFill/>
              </a:ln>
              <a:solidFill>
                <a:prstClr val="black"/>
              </a:solidFill>
              <a:effectLst/>
              <a:uLnTx/>
              <a:uFillTx/>
              <a:latin typeface="Arial"/>
              <a:ea typeface="+mn-ea"/>
              <a:cs typeface="+mn-cs"/>
            </a:endParaRPr>
          </a:p>
          <a:p>
            <a:pPr marL="115888" indent="-115888">
              <a:lnSpc>
                <a:spcPct val="120000"/>
              </a:lnSpc>
              <a:spcAft>
                <a:spcPts val="300"/>
              </a:spcAft>
              <a:buClr>
                <a:schemeClr val="accent1"/>
              </a:buClr>
              <a:buFont typeface="Arial" panose="020B0604020202020204" pitchFamily="34" charset="0"/>
              <a:buChar char="•"/>
              <a:defRPr/>
            </a:pPr>
            <a:r>
              <a:rPr kumimoji="0" lang="en-GB" sz="1200" i="0" u="none" strike="noStrike" kern="1200" cap="none" spc="0" normalizeH="0" baseline="0" noProof="0">
                <a:ln>
                  <a:noFill/>
                </a:ln>
                <a:solidFill>
                  <a:prstClr val="black"/>
                </a:solidFill>
                <a:effectLst/>
                <a:uLnTx/>
                <a:uFillTx/>
                <a:latin typeface="Arial"/>
                <a:ea typeface="+mn-ea"/>
                <a:cs typeface="+mn-cs"/>
              </a:rPr>
              <a:t>Simplified onboarding wizard </a:t>
            </a:r>
            <a:r>
              <a:rPr kumimoji="0" lang="en-GB" sz="1200" b="0" i="0" u="none" strike="noStrike" kern="1200" cap="none" spc="0" normalizeH="0" baseline="0" noProof="0">
                <a:ln>
                  <a:noFill/>
                </a:ln>
                <a:solidFill>
                  <a:prstClr val="black"/>
                </a:solidFill>
                <a:effectLst/>
                <a:uLnTx/>
                <a:uFillTx/>
                <a:latin typeface="Arial"/>
                <a:ea typeface="+mn-ea"/>
                <a:cs typeface="+mn-cs"/>
              </a:rPr>
              <a:t>– new simple UI for connecting sites to cloud</a:t>
            </a:r>
          </a:p>
          <a:p>
            <a:pPr marL="115888" indent="-115888">
              <a:lnSpc>
                <a:spcPct val="120000"/>
              </a:lnSpc>
              <a:spcAft>
                <a:spcPts val="300"/>
              </a:spcAft>
              <a:buClr>
                <a:schemeClr val="accent1"/>
              </a:buClr>
              <a:buFont typeface="Arial" panose="020B0604020202020204" pitchFamily="34" charset="0"/>
              <a:buChar char="•"/>
              <a:defRPr/>
            </a:pPr>
            <a:r>
              <a:rPr kumimoji="0" lang="en-GB" sz="1200" i="0" u="none" strike="noStrike" kern="1200" cap="none" spc="0" normalizeH="0" baseline="0" noProof="0">
                <a:ln>
                  <a:noFill/>
                </a:ln>
                <a:solidFill>
                  <a:prstClr val="black"/>
                </a:solidFill>
                <a:effectLst/>
                <a:uLnTx/>
                <a:uFillTx/>
                <a:latin typeface="Arial"/>
                <a:ea typeface="+mn-ea"/>
                <a:cs typeface="+mn-cs"/>
              </a:rPr>
              <a:t>Simplified IT Config </a:t>
            </a:r>
            <a:r>
              <a:rPr kumimoji="0" lang="en-GB" sz="1200" b="0" i="0" u="none" strike="noStrike" kern="1200" cap="none" spc="0" normalizeH="0" baseline="0" noProof="0">
                <a:ln>
                  <a:noFill/>
                </a:ln>
                <a:solidFill>
                  <a:prstClr val="black"/>
                </a:solidFill>
                <a:effectLst/>
                <a:uLnTx/>
                <a:uFillTx/>
                <a:latin typeface="Arial"/>
                <a:ea typeface="+mn-ea"/>
                <a:cs typeface="+mn-cs"/>
              </a:rPr>
              <a:t>– </a:t>
            </a:r>
            <a:r>
              <a:rPr lang="en-GB" sz="1200" b="0">
                <a:solidFill>
                  <a:prstClr val="black"/>
                </a:solidFill>
                <a:latin typeface="Arial"/>
              </a:rPr>
              <a:t>Connection to Forge now requires only 3 URLs whitelisted and 1 Port </a:t>
            </a:r>
          </a:p>
          <a:p>
            <a:pPr marL="115888" indent="-115888">
              <a:lnSpc>
                <a:spcPct val="120000"/>
              </a:lnSpc>
              <a:spcAft>
                <a:spcPts val="300"/>
              </a:spcAft>
              <a:buClr>
                <a:schemeClr val="accent1"/>
              </a:buClr>
              <a:buFont typeface="Arial" panose="020B0604020202020204" pitchFamily="34" charset="0"/>
              <a:buChar char="•"/>
              <a:defRPr/>
            </a:pPr>
            <a:r>
              <a:rPr kumimoji="0" lang="en-GB" sz="1200" i="0" u="none" strike="noStrike" kern="1200" cap="none" spc="0" normalizeH="0" baseline="0" noProof="0">
                <a:ln>
                  <a:noFill/>
                </a:ln>
                <a:solidFill>
                  <a:prstClr val="black"/>
                </a:solidFill>
                <a:effectLst/>
                <a:uLnTx/>
                <a:uFillTx/>
                <a:latin typeface="Arial"/>
                <a:ea typeface="+mn-ea"/>
                <a:cs typeface="+mn-cs"/>
              </a:rPr>
              <a:t>Remote Connectivity </a:t>
            </a:r>
            <a:r>
              <a:rPr kumimoji="0" lang="en-GB" sz="1200" b="0" i="0" u="none" strike="noStrike" kern="1200" cap="none" spc="0" normalizeH="0" baseline="0" noProof="0">
                <a:ln>
                  <a:noFill/>
                </a:ln>
                <a:solidFill>
                  <a:prstClr val="black"/>
                </a:solidFill>
                <a:effectLst/>
                <a:uLnTx/>
                <a:uFillTx/>
                <a:latin typeface="Arial"/>
                <a:ea typeface="+mn-ea"/>
                <a:cs typeface="+mn-cs"/>
              </a:rPr>
              <a:t>– Get remote connection to station by default powered by Niagara Remote</a:t>
            </a:r>
          </a:p>
          <a:p>
            <a:pPr marL="115888" marR="0" lvl="0" indent="-115888" algn="l" defTabSz="914400" rtl="0" eaLnBrk="1" fontAlgn="auto" latinLnBrk="0" hangingPunct="1">
              <a:lnSpc>
                <a:spcPct val="120000"/>
              </a:lnSpc>
              <a:spcBef>
                <a:spcPts val="0"/>
              </a:spcBef>
              <a:spcAft>
                <a:spcPts val="300"/>
              </a:spcAft>
              <a:buClr>
                <a:schemeClr val="accent1"/>
              </a:buClr>
              <a:buSzTx/>
              <a:buFont typeface="Arial" panose="020B0604020202020204" pitchFamily="34" charset="0"/>
              <a:buChar char="•"/>
              <a:defRPr/>
            </a:pPr>
            <a:r>
              <a:rPr kumimoji="0" lang="en-GB" sz="1200" i="0" u="none" strike="noStrike" kern="1200" cap="none" spc="0" normalizeH="0" baseline="0" noProof="0">
                <a:ln>
                  <a:noFill/>
                </a:ln>
                <a:solidFill>
                  <a:prstClr val="black"/>
                </a:solidFill>
                <a:effectLst/>
                <a:uLnTx/>
                <a:uFillTx/>
                <a:latin typeface="Arial"/>
                <a:ea typeface="+mn-ea"/>
                <a:cs typeface="+mn-cs"/>
              </a:rPr>
              <a:t>Not just telemetry data</a:t>
            </a:r>
            <a:r>
              <a:rPr lang="en-GB" sz="1200">
                <a:solidFill>
                  <a:prstClr val="black"/>
                </a:solidFill>
                <a:latin typeface="Arial"/>
              </a:rPr>
              <a:t> </a:t>
            </a:r>
            <a:r>
              <a:rPr lang="en-GB" sz="1200" b="0">
                <a:solidFill>
                  <a:prstClr val="black"/>
                </a:solidFill>
                <a:latin typeface="Arial"/>
              </a:rPr>
              <a:t>– New cloud connection </a:t>
            </a:r>
            <a:r>
              <a:rPr kumimoji="0" lang="en-GB" sz="1200" b="0" i="0" u="none" strike="noStrike" kern="1200" cap="none" spc="0" normalizeH="0" baseline="0" noProof="0">
                <a:ln>
                  <a:noFill/>
                </a:ln>
                <a:solidFill>
                  <a:prstClr val="black"/>
                </a:solidFill>
                <a:effectLst/>
                <a:uLnTx/>
                <a:uFillTx/>
                <a:latin typeface="Arial"/>
                <a:ea typeface="+mn-ea"/>
                <a:cs typeface="+mn-cs"/>
              </a:rPr>
              <a:t>now enables to access BMS Controller config information as well</a:t>
            </a:r>
          </a:p>
          <a:p>
            <a:pPr marL="115888" marR="0" lvl="0" indent="-115888" algn="l" defTabSz="914400" rtl="0" eaLnBrk="1" fontAlgn="auto" latinLnBrk="0" hangingPunct="1">
              <a:lnSpc>
                <a:spcPct val="120000"/>
              </a:lnSpc>
              <a:spcBef>
                <a:spcPts val="0"/>
              </a:spcBef>
              <a:spcAft>
                <a:spcPts val="300"/>
              </a:spcAft>
              <a:buClr>
                <a:schemeClr val="accent1"/>
              </a:buClr>
              <a:buSzTx/>
              <a:buFont typeface="Arial" panose="020B0604020202020204" pitchFamily="34" charset="0"/>
              <a:buChar char="•"/>
              <a:defRPr/>
            </a:pPr>
            <a:r>
              <a:rPr lang="en-GB" sz="1200">
                <a:solidFill>
                  <a:prstClr val="black"/>
                </a:solidFill>
                <a:latin typeface="Arial"/>
              </a:rPr>
              <a:t>Niagara Cloud Driver Licensing </a:t>
            </a:r>
            <a:r>
              <a:rPr lang="en-GB" sz="1200" b="0">
                <a:solidFill>
                  <a:prstClr val="black"/>
                </a:solidFill>
                <a:latin typeface="Arial"/>
              </a:rPr>
              <a:t>– Automatic licensing of Niagara cloud driver </a:t>
            </a:r>
          </a:p>
          <a:p>
            <a:pPr marL="115888" marR="0" lvl="0" indent="-115888" algn="l" defTabSz="914400" rtl="0" eaLnBrk="1" fontAlgn="auto" latinLnBrk="0" hangingPunct="1">
              <a:lnSpc>
                <a:spcPct val="120000"/>
              </a:lnSpc>
              <a:spcBef>
                <a:spcPts val="0"/>
              </a:spcBef>
              <a:spcAft>
                <a:spcPts val="300"/>
              </a:spcAft>
              <a:buClr>
                <a:schemeClr val="accent1"/>
              </a:buClr>
              <a:buSzTx/>
              <a:buFont typeface="Arial" panose="020B0604020202020204" pitchFamily="34" charset="0"/>
              <a:buChar char="•"/>
              <a:defRPr/>
            </a:pPr>
            <a:endParaRPr lang="en-GB" sz="1200" b="0">
              <a:solidFill>
                <a:prstClr val="black"/>
              </a:solidFill>
              <a:latin typeface="Arial"/>
            </a:endParaRPr>
          </a:p>
          <a:p>
            <a:pPr marR="0" lvl="0" algn="l" defTabSz="914400" rtl="0" eaLnBrk="1" fontAlgn="auto" latinLnBrk="0" hangingPunct="1">
              <a:lnSpc>
                <a:spcPct val="120000"/>
              </a:lnSpc>
              <a:spcBef>
                <a:spcPts val="0"/>
              </a:spcBef>
              <a:spcAft>
                <a:spcPts val="300"/>
              </a:spcAft>
              <a:buClr>
                <a:schemeClr val="accent1"/>
              </a:buClr>
              <a:buSzTx/>
              <a:defRPr/>
            </a:pPr>
            <a:r>
              <a:rPr kumimoji="0" lang="en-GB" sz="1600" b="1" i="0" u="none" strike="noStrike" kern="1200" cap="none" spc="0" normalizeH="0" baseline="0" noProof="0">
                <a:ln>
                  <a:noFill/>
                </a:ln>
                <a:solidFill>
                  <a:prstClr val="black"/>
                </a:solidFill>
                <a:effectLst/>
                <a:uLnTx/>
                <a:uFillTx/>
                <a:latin typeface="Arial"/>
                <a:ea typeface="+mn-ea"/>
                <a:cs typeface="+mn-cs"/>
              </a:rPr>
              <a:t>YOUR PARTNER PORTAL</a:t>
            </a:r>
          </a:p>
          <a:p>
            <a:pPr marL="115888" indent="-115888">
              <a:lnSpc>
                <a:spcPct val="120000"/>
              </a:lnSpc>
              <a:spcAft>
                <a:spcPts val="300"/>
              </a:spcAft>
              <a:buClr>
                <a:schemeClr val="accent1"/>
              </a:buClr>
              <a:buFont typeface="Arial" panose="020B0604020202020204" pitchFamily="34" charset="0"/>
              <a:buChar char="•"/>
              <a:defRPr/>
            </a:pPr>
            <a:r>
              <a:rPr lang="en-GB" sz="1200" b="1">
                <a:solidFill>
                  <a:prstClr val="black"/>
                </a:solidFill>
                <a:latin typeface="Arial"/>
              </a:rPr>
              <a:t>Org &amp; site Wizard </a:t>
            </a:r>
            <a:r>
              <a:rPr lang="en-GB" sz="1200" b="0">
                <a:solidFill>
                  <a:prstClr val="black"/>
                </a:solidFill>
                <a:latin typeface="Arial"/>
              </a:rPr>
              <a:t>– Creation of </a:t>
            </a:r>
            <a:r>
              <a:rPr kumimoji="0" lang="en-GB" sz="1200" b="0" i="0" u="none" strike="noStrike" kern="1200" cap="none" spc="0" normalizeH="0" baseline="0" noProof="0">
                <a:ln>
                  <a:noFill/>
                </a:ln>
                <a:solidFill>
                  <a:prstClr val="black"/>
                </a:solidFill>
                <a:effectLst/>
                <a:uLnTx/>
                <a:uFillTx/>
                <a:latin typeface="Arial"/>
                <a:ea typeface="+mn-ea"/>
                <a:cs typeface="+mn-cs"/>
              </a:rPr>
              <a:t>Org, Site and users via intuitive wizard</a:t>
            </a:r>
            <a:r>
              <a:rPr lang="en-GB" sz="1200" b="0">
                <a:solidFill>
                  <a:prstClr val="black"/>
                </a:solidFill>
                <a:latin typeface="Arial"/>
              </a:rPr>
              <a:t> with ability to edit hierarchy. </a:t>
            </a:r>
            <a:r>
              <a:rPr kumimoji="0" lang="en-GB" sz="1200" b="0" i="0" u="none" strike="noStrike" kern="1200" cap="none" spc="0" normalizeH="0" baseline="0" noProof="0">
                <a:ln>
                  <a:noFill/>
                </a:ln>
                <a:solidFill>
                  <a:prstClr val="black"/>
                </a:solidFill>
                <a:effectLst/>
                <a:uLnTx/>
                <a:uFillTx/>
                <a:latin typeface="Arial"/>
                <a:ea typeface="+mn-ea"/>
                <a:cs typeface="+mn-cs"/>
              </a:rPr>
              <a:t>No more Excel sheets!</a:t>
            </a:r>
          </a:p>
          <a:p>
            <a:pPr marL="115888" indent="-115888">
              <a:lnSpc>
                <a:spcPct val="120000"/>
              </a:lnSpc>
              <a:spcAft>
                <a:spcPts val="300"/>
              </a:spcAft>
              <a:buClr>
                <a:schemeClr val="accent1"/>
              </a:buClr>
              <a:buFont typeface="Arial" panose="020B0604020202020204" pitchFamily="34" charset="0"/>
              <a:buChar char="•"/>
              <a:defRPr/>
            </a:pPr>
            <a:r>
              <a:rPr kumimoji="0" lang="en-GB" sz="1200" b="1" i="0" u="none" strike="noStrike" kern="1200" cap="none" spc="0" normalizeH="0" baseline="0" noProof="0">
                <a:ln>
                  <a:noFill/>
                </a:ln>
                <a:solidFill>
                  <a:prstClr val="black"/>
                </a:solidFill>
                <a:effectLst/>
                <a:uLnTx/>
                <a:uFillTx/>
                <a:latin typeface="Arial"/>
                <a:ea typeface="+mn-ea"/>
                <a:cs typeface="+mn-cs"/>
              </a:rPr>
              <a:t>Cockpit view </a:t>
            </a:r>
            <a:r>
              <a:rPr kumimoji="0" lang="en-GB" sz="1200" b="0" i="0" u="none" strike="noStrike" kern="1200" cap="none" spc="0" normalizeH="0" baseline="0" noProof="0">
                <a:ln>
                  <a:noFill/>
                </a:ln>
                <a:solidFill>
                  <a:prstClr val="black"/>
                </a:solidFill>
                <a:effectLst/>
                <a:uLnTx/>
                <a:uFillTx/>
                <a:latin typeface="Arial"/>
                <a:ea typeface="+mn-ea"/>
                <a:cs typeface="+mn-cs"/>
              </a:rPr>
              <a:t>– </a:t>
            </a:r>
            <a:r>
              <a:rPr lang="en-GB" sz="1200" b="0">
                <a:solidFill>
                  <a:prstClr val="black"/>
                </a:solidFill>
                <a:latin typeface="Arial"/>
              </a:rPr>
              <a:t>Service providers now have the visibility to site connectivity, subscription statuses etc for all connected sites. </a:t>
            </a:r>
            <a:endParaRPr kumimoji="0" lang="en-GB" sz="1200" b="0" i="0" u="none" strike="noStrike" kern="1200" cap="none" spc="0" normalizeH="0" baseline="0" noProof="0">
              <a:ln>
                <a:noFill/>
              </a:ln>
              <a:solidFill>
                <a:prstClr val="black"/>
              </a:solidFill>
              <a:effectLst/>
              <a:uLnTx/>
              <a:uFillTx/>
              <a:latin typeface="Arial"/>
              <a:ea typeface="+mn-ea"/>
              <a:cs typeface="+mn-cs"/>
            </a:endParaRPr>
          </a:p>
          <a:p>
            <a:pPr marL="115888" indent="-115888">
              <a:lnSpc>
                <a:spcPct val="120000"/>
              </a:lnSpc>
              <a:spcAft>
                <a:spcPts val="300"/>
              </a:spcAft>
              <a:buClr>
                <a:schemeClr val="accent1"/>
              </a:buClr>
              <a:buFont typeface="Arial" panose="020B0604020202020204" pitchFamily="34" charset="0"/>
              <a:buChar char="•"/>
              <a:defRPr/>
            </a:pPr>
            <a:r>
              <a:rPr kumimoji="0" lang="en-GB" sz="1200" b="0" i="0" u="none" strike="noStrike" kern="1200" cap="none" spc="0" normalizeH="0" baseline="0" noProof="0">
                <a:ln>
                  <a:noFill/>
                </a:ln>
                <a:solidFill>
                  <a:prstClr val="black"/>
                </a:solidFill>
                <a:effectLst/>
                <a:uLnTx/>
                <a:uFillTx/>
                <a:latin typeface="Arial"/>
                <a:ea typeface="+mn-ea"/>
                <a:cs typeface="+mn-cs"/>
              </a:rPr>
              <a:t>AI based </a:t>
            </a:r>
            <a:r>
              <a:rPr lang="en-GB" sz="1200" b="1">
                <a:solidFill>
                  <a:prstClr val="black"/>
                </a:solidFill>
                <a:latin typeface="Arial"/>
              </a:rPr>
              <a:t>A</a:t>
            </a:r>
            <a:r>
              <a:rPr kumimoji="0" lang="en-GB" sz="1200" b="1" i="0" u="none" strike="noStrike" kern="1200" cap="none" spc="0" normalizeH="0" baseline="0" noProof="0" err="1">
                <a:ln>
                  <a:noFill/>
                </a:ln>
                <a:solidFill>
                  <a:prstClr val="black"/>
                </a:solidFill>
                <a:effectLst/>
                <a:uLnTx/>
                <a:uFillTx/>
                <a:latin typeface="Arial"/>
                <a:ea typeface="+mn-ea"/>
                <a:cs typeface="+mn-cs"/>
              </a:rPr>
              <a:t>sset</a:t>
            </a:r>
            <a:r>
              <a:rPr kumimoji="0" lang="en-GB" sz="1200" b="1" i="0" u="none" strike="noStrike" kern="1200" cap="none" spc="0" normalizeH="0" baseline="0" noProof="0">
                <a:ln>
                  <a:noFill/>
                </a:ln>
                <a:solidFill>
                  <a:prstClr val="black"/>
                </a:solidFill>
                <a:effectLst/>
                <a:uLnTx/>
                <a:uFillTx/>
                <a:latin typeface="Arial"/>
                <a:ea typeface="+mn-ea"/>
                <a:cs typeface="+mn-cs"/>
              </a:rPr>
              <a:t> Modelling </a:t>
            </a:r>
            <a:r>
              <a:rPr kumimoji="0" lang="en-GB" sz="1200" b="0" i="0" u="none" strike="noStrike" kern="1200" cap="none" spc="0" normalizeH="0" baseline="0" noProof="0">
                <a:ln>
                  <a:noFill/>
                </a:ln>
                <a:solidFill>
                  <a:prstClr val="black"/>
                </a:solidFill>
                <a:effectLst/>
                <a:uLnTx/>
                <a:uFillTx/>
                <a:latin typeface="Arial"/>
                <a:ea typeface="+mn-ea"/>
                <a:cs typeface="+mn-cs"/>
              </a:rPr>
              <a:t>– Cloud based Automatic asset modelling with AI/ ML algorithm with the open to add manual inputs. </a:t>
            </a:r>
          </a:p>
          <a:p>
            <a:pPr marL="115888" indent="-115888">
              <a:lnSpc>
                <a:spcPct val="120000"/>
              </a:lnSpc>
              <a:spcAft>
                <a:spcPts val="300"/>
              </a:spcAft>
              <a:buClr>
                <a:schemeClr val="accent1"/>
              </a:buClr>
              <a:buFont typeface="Arial" panose="020B0604020202020204" pitchFamily="34" charset="0"/>
              <a:buChar char="•"/>
              <a:defRPr/>
            </a:pPr>
            <a:r>
              <a:rPr kumimoji="0" lang="en-GB" sz="1200" b="1" i="0" u="none" strike="noStrike" kern="1200" cap="none" spc="0" normalizeH="0" baseline="0" noProof="0">
                <a:ln>
                  <a:noFill/>
                </a:ln>
                <a:solidFill>
                  <a:prstClr val="black"/>
                </a:solidFill>
                <a:effectLst/>
                <a:uLnTx/>
                <a:uFillTx/>
                <a:latin typeface="Arial"/>
                <a:ea typeface="+mn-ea"/>
                <a:cs typeface="+mn-cs"/>
              </a:rPr>
              <a:t>Gateway Management </a:t>
            </a:r>
            <a:r>
              <a:rPr kumimoji="0" lang="en-GB" sz="1200" b="0" i="0" u="none" strike="noStrike" kern="1200" cap="none" spc="0" normalizeH="0" baseline="0" noProof="0">
                <a:ln>
                  <a:noFill/>
                </a:ln>
                <a:solidFill>
                  <a:prstClr val="black"/>
                </a:solidFill>
                <a:effectLst/>
                <a:uLnTx/>
                <a:uFillTx/>
                <a:latin typeface="Arial"/>
                <a:ea typeface="+mn-ea"/>
                <a:cs typeface="+mn-cs"/>
              </a:rPr>
              <a:t>– New section to view gateways and connected devices along with option to remotely connect </a:t>
            </a:r>
            <a:r>
              <a:rPr lang="en-GB" sz="1200" b="0">
                <a:solidFill>
                  <a:prstClr val="black"/>
                </a:solidFill>
                <a:latin typeface="Arial"/>
              </a:rPr>
              <a:t>to gateway</a:t>
            </a:r>
          </a:p>
          <a:p>
            <a:pPr marL="115888" indent="-115888">
              <a:lnSpc>
                <a:spcPct val="120000"/>
              </a:lnSpc>
              <a:spcAft>
                <a:spcPts val="300"/>
              </a:spcAft>
              <a:buClr>
                <a:schemeClr val="accent1"/>
              </a:buClr>
              <a:buFont typeface="Arial" panose="020B0604020202020204" pitchFamily="34" charset="0"/>
              <a:buChar char="•"/>
              <a:defRPr/>
            </a:pPr>
            <a:r>
              <a:rPr kumimoji="0" lang="en-GB" sz="1200" b="0" i="0" u="none" strike="noStrike" kern="1200" cap="none" spc="0" normalizeH="0" baseline="0" noProof="0">
                <a:ln>
                  <a:noFill/>
                </a:ln>
                <a:solidFill>
                  <a:prstClr val="black"/>
                </a:solidFill>
                <a:effectLst/>
                <a:uLnTx/>
                <a:uFillTx/>
                <a:latin typeface="Arial"/>
                <a:ea typeface="+mn-ea"/>
                <a:cs typeface="+mn-cs"/>
              </a:rPr>
              <a:t>2 Step workflow - </a:t>
            </a:r>
            <a:r>
              <a:rPr lang="en-GB" sz="1200" b="0">
                <a:solidFill>
                  <a:prstClr val="black"/>
                </a:solidFill>
                <a:latin typeface="Arial"/>
              </a:rPr>
              <a:t>Distributors selling to contractors</a:t>
            </a:r>
          </a:p>
          <a:p>
            <a:endParaRPr lang="en-US"/>
          </a:p>
          <a:p>
            <a:pPr marR="0" lvl="0" algn="l" defTabSz="914400" rtl="0" eaLnBrk="1" fontAlgn="auto" latinLnBrk="0" hangingPunct="1">
              <a:lnSpc>
                <a:spcPct val="120000"/>
              </a:lnSpc>
              <a:spcBef>
                <a:spcPts val="0"/>
              </a:spcBef>
              <a:spcAft>
                <a:spcPts val="300"/>
              </a:spcAft>
              <a:buClrTx/>
              <a:buSzTx/>
              <a:tabLst/>
              <a:defRPr/>
            </a:pPr>
            <a:r>
              <a:rPr lang="en-GB" sz="1600" b="1">
                <a:solidFill>
                  <a:prstClr val="black"/>
                </a:solidFill>
                <a:latin typeface="Arial"/>
              </a:rPr>
              <a:t>NEW APPLICATIONS</a:t>
            </a:r>
          </a:p>
          <a:p>
            <a:pPr marL="171450" marR="0" lvl="0" indent="-171450" algn="l" defTabSz="914400" rtl="0" eaLnBrk="1" fontAlgn="auto" latinLnBrk="0" hangingPunct="1">
              <a:lnSpc>
                <a:spcPct val="120000"/>
              </a:lnSpc>
              <a:spcBef>
                <a:spcPts val="0"/>
              </a:spcBef>
              <a:spcAft>
                <a:spcPts val="300"/>
              </a:spcAft>
              <a:buClr>
                <a:schemeClr val="accent1"/>
              </a:buClr>
              <a:buSzTx/>
              <a:buFont typeface="Arial" panose="020B0604020202020204" pitchFamily="34" charset="0"/>
              <a:buChar char="•"/>
              <a:defRPr/>
            </a:pPr>
            <a:r>
              <a:rPr lang="en-GB" sz="1200" b="1">
                <a:solidFill>
                  <a:prstClr val="black"/>
                </a:solidFill>
                <a:latin typeface="Arial"/>
              </a:rPr>
              <a:t>KPI Dashboard</a:t>
            </a:r>
            <a:r>
              <a:rPr lang="en-GB" sz="1200">
                <a:solidFill>
                  <a:prstClr val="black"/>
                </a:solidFill>
                <a:latin typeface="Arial"/>
              </a:rPr>
              <a:t> </a:t>
            </a:r>
            <a:r>
              <a:rPr lang="en-GB" sz="1200" b="0">
                <a:solidFill>
                  <a:prstClr val="black"/>
                </a:solidFill>
                <a:latin typeface="Arial"/>
              </a:rPr>
              <a:t>– Building performance KPIs to </a:t>
            </a:r>
            <a:endParaRPr kumimoji="0" lang="en-GB" sz="12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20000"/>
              </a:lnSpc>
              <a:spcBef>
                <a:spcPts val="0"/>
              </a:spcBef>
              <a:spcAft>
                <a:spcPts val="300"/>
              </a:spcAft>
              <a:buClr>
                <a:schemeClr val="accent1"/>
              </a:buClr>
              <a:buSzTx/>
              <a:buFont typeface="Arial" panose="020B0604020202020204" pitchFamily="34" charset="0"/>
              <a:buChar char="•"/>
              <a:defRPr/>
            </a:pPr>
            <a:r>
              <a:rPr kumimoji="0" lang="en-GB" sz="1200" b="1" i="0" u="none" strike="noStrike" kern="1200" cap="none" spc="0" normalizeH="0" baseline="0" noProof="0">
                <a:ln>
                  <a:noFill/>
                </a:ln>
                <a:solidFill>
                  <a:prstClr val="black"/>
                </a:solidFill>
                <a:effectLst/>
                <a:uLnTx/>
                <a:uFillTx/>
                <a:latin typeface="Arial"/>
                <a:ea typeface="+mn-ea"/>
                <a:cs typeface="+mn-cs"/>
              </a:rPr>
              <a:t>Opportunity Assessment</a:t>
            </a:r>
            <a:r>
              <a:rPr kumimoji="0" lang="en-GB" sz="1200" b="0" i="0" u="none" strike="noStrike" kern="1200" cap="none" spc="0" normalizeH="0" baseline="0" noProof="0">
                <a:ln>
                  <a:noFill/>
                </a:ln>
                <a:solidFill>
                  <a:prstClr val="black"/>
                </a:solidFill>
                <a:effectLst/>
                <a:uLnTx/>
                <a:uFillTx/>
                <a:latin typeface="Arial"/>
                <a:ea typeface="+mn-ea"/>
                <a:cs typeface="+mn-cs"/>
              </a:rPr>
              <a:t> – highlight opportunity for energy savings and asset lifecycle improvement </a:t>
            </a:r>
          </a:p>
          <a:p>
            <a:pPr marL="171450" marR="0" lvl="0" indent="-171450" algn="l" defTabSz="914400" rtl="0" eaLnBrk="1" fontAlgn="auto" latinLnBrk="0" hangingPunct="1">
              <a:lnSpc>
                <a:spcPct val="120000"/>
              </a:lnSpc>
              <a:spcBef>
                <a:spcPts val="0"/>
              </a:spcBef>
              <a:spcAft>
                <a:spcPts val="300"/>
              </a:spcAft>
              <a:buClr>
                <a:schemeClr val="accent1"/>
              </a:buClr>
              <a:buSzTx/>
              <a:buFont typeface="Arial" panose="020B0604020202020204" pitchFamily="34" charset="0"/>
              <a:buChar char="•"/>
              <a:defRPr/>
            </a:pPr>
            <a:r>
              <a:rPr lang="en-GB" sz="1200" b="1">
                <a:solidFill>
                  <a:prstClr val="black"/>
                </a:solidFill>
                <a:latin typeface="Arial"/>
              </a:rPr>
              <a:t>Obsolescence Assessment </a:t>
            </a:r>
            <a:r>
              <a:rPr lang="en-GB" sz="1200" b="0">
                <a:solidFill>
                  <a:prstClr val="black"/>
                </a:solidFill>
                <a:latin typeface="Arial"/>
              </a:rPr>
              <a:t>– Manage your customer’s risks by identifying obsolete devices  </a:t>
            </a:r>
          </a:p>
          <a:p>
            <a:pPr marL="171450" marR="0" lvl="0" indent="-171450" algn="l" defTabSz="914400" rtl="0" eaLnBrk="1" fontAlgn="auto" latinLnBrk="0" hangingPunct="1">
              <a:lnSpc>
                <a:spcPct val="120000"/>
              </a:lnSpc>
              <a:spcBef>
                <a:spcPts val="0"/>
              </a:spcBef>
              <a:spcAft>
                <a:spcPts val="300"/>
              </a:spcAft>
              <a:buClr>
                <a:schemeClr val="accent1"/>
              </a:buClr>
              <a:buSzTx/>
              <a:buFont typeface="Arial" panose="020B0604020202020204" pitchFamily="34" charset="0"/>
              <a:buChar char="•"/>
              <a:defRPr/>
            </a:pPr>
            <a:r>
              <a:rPr lang="en-GB" sz="1200" b="1">
                <a:solidFill>
                  <a:prstClr val="black"/>
                </a:solidFill>
                <a:latin typeface="Arial"/>
              </a:rPr>
              <a:t>Insight Builder </a:t>
            </a:r>
            <a:r>
              <a:rPr lang="en-GB" sz="1200" b="0">
                <a:solidFill>
                  <a:prstClr val="black"/>
                </a:solidFill>
                <a:latin typeface="Arial"/>
              </a:rPr>
              <a:t>– Create custom dashboards and reports to help your customers’ operations</a:t>
            </a:r>
          </a:p>
          <a:p>
            <a:pPr marL="171450" indent="-171450">
              <a:lnSpc>
                <a:spcPct val="120000"/>
              </a:lnSpc>
              <a:spcAft>
                <a:spcPts val="300"/>
              </a:spcAft>
              <a:buClr>
                <a:schemeClr val="accent1"/>
              </a:buClr>
              <a:buFont typeface="Arial" panose="020B0604020202020204" pitchFamily="34" charset="0"/>
              <a:buChar char="•"/>
              <a:defRPr/>
            </a:pPr>
            <a:r>
              <a:rPr lang="en-GB" sz="1200" b="1">
                <a:solidFill>
                  <a:prstClr val="black"/>
                </a:solidFill>
                <a:latin typeface="Arial"/>
              </a:rPr>
              <a:t>Remote PPM </a:t>
            </a:r>
            <a:r>
              <a:rPr lang="en-GB" sz="1200" b="0">
                <a:solidFill>
                  <a:prstClr val="black"/>
                </a:solidFill>
                <a:latin typeface="Arial"/>
              </a:rPr>
              <a:t>– Execute PPMs remotely and identify equipment that needs servicing </a:t>
            </a:r>
          </a:p>
          <a:p>
            <a:pPr marR="0" lvl="0" algn="l" defTabSz="914400" rtl="0" eaLnBrk="1" fontAlgn="auto" latinLnBrk="0" hangingPunct="1">
              <a:lnSpc>
                <a:spcPct val="120000"/>
              </a:lnSpc>
              <a:spcBef>
                <a:spcPts val="0"/>
              </a:spcBef>
              <a:spcAft>
                <a:spcPts val="300"/>
              </a:spcAft>
              <a:buClr>
                <a:schemeClr val="accent1"/>
              </a:buClr>
              <a:buSzTx/>
              <a:defRPr/>
            </a:pPr>
            <a:endParaRPr lang="en-GB" sz="1200" b="1">
              <a:solidFill>
                <a:prstClr val="black"/>
              </a:solidFill>
              <a:latin typeface="Arial"/>
            </a:endParaRPr>
          </a:p>
          <a:p>
            <a:pPr marR="0" lvl="0" algn="l" defTabSz="914400" rtl="0" eaLnBrk="1" fontAlgn="auto" latinLnBrk="0" hangingPunct="1">
              <a:lnSpc>
                <a:spcPct val="120000"/>
              </a:lnSpc>
              <a:spcBef>
                <a:spcPts val="0"/>
              </a:spcBef>
              <a:spcAft>
                <a:spcPts val="300"/>
              </a:spcAft>
              <a:buClrTx/>
              <a:buSzTx/>
              <a:tabLst/>
              <a:defRPr/>
            </a:pPr>
            <a:r>
              <a:rPr lang="en-GB" sz="1600" b="1">
                <a:solidFill>
                  <a:prstClr val="black"/>
                </a:solidFill>
                <a:latin typeface="Arial"/>
              </a:rPr>
              <a:t>EXISTING APPLICATIONS</a:t>
            </a:r>
          </a:p>
          <a:p>
            <a:pPr marL="171450" marR="0" lvl="0" indent="-171450" algn="l" defTabSz="914400" rtl="0" eaLnBrk="1" fontAlgn="auto" latinLnBrk="0" hangingPunct="1">
              <a:lnSpc>
                <a:spcPct val="120000"/>
              </a:lnSpc>
              <a:spcBef>
                <a:spcPts val="0"/>
              </a:spcBef>
              <a:spcAft>
                <a:spcPts val="300"/>
              </a:spcAft>
              <a:buClr>
                <a:schemeClr val="accent1"/>
              </a:buClr>
              <a:buSzTx/>
              <a:buFont typeface="Arial" panose="020B0604020202020204" pitchFamily="34" charset="0"/>
              <a:buChar char="•"/>
              <a:defRPr/>
            </a:pPr>
            <a:r>
              <a:rPr lang="en-GB" sz="1200" b="0">
                <a:solidFill>
                  <a:prstClr val="black"/>
                </a:solidFill>
                <a:latin typeface="Arial"/>
              </a:rPr>
              <a:t>Remote Building Manager | Predictive Maintenance | Carbon &amp; Energy Management</a:t>
            </a:r>
          </a:p>
          <a:p>
            <a:endParaRPr lang="en-US"/>
          </a:p>
        </p:txBody>
      </p:sp>
      <p:sp>
        <p:nvSpPr>
          <p:cNvPr id="4" name="Slide Number Placeholder 3"/>
          <p:cNvSpPr>
            <a:spLocks noGrp="1"/>
          </p:cNvSpPr>
          <p:nvPr>
            <p:ph type="sldNum" sz="quarter" idx="5"/>
          </p:nvPr>
        </p:nvSpPr>
        <p:spPr/>
        <p:txBody>
          <a:bodyPr/>
          <a:lstStyle/>
          <a:p>
            <a:fld id="{0CFC8E62-97CA-4B9F-85D3-ED11FBB31E1D}" type="slidenum">
              <a:rPr lang="en-US" smtClean="0"/>
              <a:pPr/>
              <a:t>21</a:t>
            </a:fld>
            <a:endParaRPr lang="en-US"/>
          </a:p>
        </p:txBody>
      </p:sp>
    </p:spTree>
    <p:extLst>
      <p:ext uri="{BB962C8B-B14F-4D97-AF65-F5344CB8AC3E}">
        <p14:creationId xmlns:p14="http://schemas.microsoft.com/office/powerpoint/2010/main" val="14054848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FC8E62-97CA-4B9F-85D3-ED11FBB31E1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3832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027A3-B910-F97D-D4E2-A353766615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FA1AFC-1DAA-191A-0B4F-39A47D585C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8753E0-F61F-DAE1-A000-2DB1A9037A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E2931ED-5593-C49B-FF7E-EAACBA7666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FC8E62-97CA-4B9F-85D3-ED11FBB31E1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839901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35759-2FF4-EB65-0307-86A70FDF11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8FBD62-FD7B-4348-0ACC-A05BACD0B3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5C0ACB-3A3F-E462-8103-82C1E9891FC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F24302-3DDF-A9DE-2136-E03902CE37A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E1BE30-486B-6847-AF23-E24ED9229B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615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FF0000"/>
                </a:solidFill>
                <a:effectLst/>
                <a:uLnTx/>
                <a:uFillTx/>
                <a:latin typeface="Arial"/>
                <a:ea typeface="+mn-ea"/>
                <a:cs typeface="Arial" panose="020B0604020202020204" pitchFamily="34" charset="0"/>
              </a:rPr>
              <a:t>Operational efficienc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FF0000"/>
                </a:solidFill>
                <a:effectLst/>
                <a:uLnTx/>
                <a:uFillTx/>
                <a:latin typeface="Arial"/>
                <a:ea typeface="+mn-ea"/>
                <a:cs typeface="Arial" panose="020B0604020202020204" pitchFamily="34" charset="0"/>
              </a:rPr>
              <a:t>64%</a:t>
            </a:r>
            <a:r>
              <a:rPr kumimoji="0" lang="en-US" sz="4800" b="0" i="0" u="none" strike="noStrike" kern="1200" cap="none" spc="0" normalizeH="0" baseline="30000" noProof="0">
                <a:ln>
                  <a:noFill/>
                </a:ln>
                <a:solidFill>
                  <a:srgbClr val="FF0000"/>
                </a:solidFill>
                <a:effectLst/>
                <a:uLnTx/>
                <a:uFillTx/>
                <a:latin typeface="Arial"/>
                <a:ea typeface="+mn-ea"/>
                <a:cs typeface="Arial" panose="020B0604020202020204" pitchFamily="34" charset="0"/>
              </a:rPr>
              <a:t> </a:t>
            </a: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high priority for reducing asset downtime.  One hour of downtime can cost more than $1M for mid-sized and large companies</a:t>
            </a:r>
            <a:r>
              <a:rPr kumimoji="0" lang="en-US" sz="1200" b="0" i="0" u="none" strike="noStrike" kern="1200" cap="none" spc="0" normalizeH="0" baseline="30000" noProof="0">
                <a:ln>
                  <a:noFill/>
                </a:ln>
                <a:solidFill>
                  <a:prstClr val="white"/>
                </a:solidFill>
                <a:effectLst/>
                <a:uLnTx/>
                <a:uFillTx/>
                <a:latin typeface="Arial"/>
                <a:ea typeface="+mn-ea"/>
                <a:cs typeface="Arial" panose="020B0604020202020204" pitchFamily="34" charset="0"/>
              </a:rPr>
              <a:t>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30000" noProof="0">
              <a:ln>
                <a:noFill/>
              </a:ln>
              <a:solidFill>
                <a:prstClr val="white"/>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Compliance with regul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67%</a:t>
            </a:r>
            <a:r>
              <a:rPr kumimoji="0" lang="en-US" sz="1200" b="0" i="0" u="none" strike="noStrike" kern="1200" cap="none" spc="0" normalizeH="0" baseline="30000" noProof="0">
                <a:ln>
                  <a:noFill/>
                </a:ln>
                <a:solidFill>
                  <a:prstClr val="white"/>
                </a:solidFill>
                <a:effectLst/>
                <a:uLnTx/>
                <a:uFillTx/>
                <a:latin typeface="Arial"/>
                <a:ea typeface="+mn-ea"/>
                <a:cs typeface="Arial" panose="020B0604020202020204" pitchFamily="34" charset="0"/>
              </a:rPr>
              <a:t> </a:t>
            </a: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being compliant with the increasingly complex government and industry regulations. Example: New York City Local Law 97 requires 40% emissions reduction for the city’s largest buildings by 2030</a:t>
            </a:r>
            <a:r>
              <a:rPr kumimoji="0" lang="en-US" sz="1200" b="0" i="0" u="none" strike="noStrike" kern="1200" cap="none" spc="0" normalizeH="0" baseline="30000" noProof="0">
                <a:ln>
                  <a:noFill/>
                </a:ln>
                <a:solidFill>
                  <a:prstClr val="white"/>
                </a:solidFill>
                <a:effectLst/>
                <a:uLnTx/>
                <a:uFillTx/>
                <a:latin typeface="Arial"/>
                <a:ea typeface="+mn-ea"/>
                <a:cs typeface="Arial" panose="020B0604020202020204" pitchFamily="34"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Energy efficiency &amp; resilien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69%</a:t>
            </a:r>
            <a:r>
              <a:rPr kumimoji="0" lang="en-US" sz="1200" b="0" i="0" u="none" strike="noStrike" kern="1200" cap="none" spc="0" normalizeH="0" baseline="30000" noProof="0">
                <a:ln>
                  <a:noFill/>
                </a:ln>
                <a:solidFill>
                  <a:prstClr val="white"/>
                </a:solidFill>
                <a:effectLst/>
                <a:uLnTx/>
                <a:uFillTx/>
                <a:latin typeface="Arial"/>
                <a:ea typeface="+mn-ea"/>
                <a:cs typeface="Arial" panose="020B0604020202020204" pitchFamily="34" charset="0"/>
              </a:rPr>
              <a:t> </a:t>
            </a: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high priority for achieving net-zero targets focusing on energy management for operations, sustainability and carbon manag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Risk Mitig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76%</a:t>
            </a:r>
            <a:r>
              <a:rPr kumimoji="0" lang="en-US" sz="1200" b="0" i="0" u="none" strike="noStrike" kern="1200" cap="none" spc="0" normalizeH="0" baseline="30000" noProof="0">
                <a:ln>
                  <a:noFill/>
                </a:ln>
                <a:solidFill>
                  <a:prstClr val="white"/>
                </a:solidFill>
                <a:effectLst/>
                <a:uLnTx/>
                <a:uFillTx/>
                <a:latin typeface="Arial"/>
                <a:ea typeface="+mn-ea"/>
                <a:cs typeface="Arial" panose="020B0604020202020204" pitchFamily="34" charset="0"/>
              </a:rPr>
              <a:t> </a:t>
            </a: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recognize value of asset failure prediction software as inability to forecast equipment failures takes a high toll as unplanned downtime costs</a:t>
            </a:r>
            <a:b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an estimated $50BN pa</a:t>
            </a:r>
            <a:r>
              <a:rPr kumimoji="0" lang="en-US" sz="1200" b="0" i="0" u="none" strike="noStrike" kern="1200" cap="none" spc="0" normalizeH="0" baseline="30000" noProof="0">
                <a:ln>
                  <a:noFill/>
                </a:ln>
                <a:solidFill>
                  <a:prstClr val="white"/>
                </a:solidFill>
                <a:effectLst/>
                <a:uLnTx/>
                <a:uFillTx/>
                <a:latin typeface="Arial"/>
                <a:ea typeface="+mn-ea"/>
                <a:cs typeface="Arial" panose="020B0604020202020204" pitchFamily="34" charset="0"/>
              </a:rPr>
              <a:t>3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30000" noProof="0">
              <a:ln>
                <a:noFill/>
              </a:ln>
              <a:solidFill>
                <a:prstClr val="white"/>
              </a:solidFill>
              <a:effectLst/>
              <a:uLnTx/>
              <a:uFillTx/>
              <a:latin typeface="Arial"/>
              <a:ea typeface="+mn-ea"/>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FC8E62-97CA-4B9F-85D3-ED11FBB31E1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722538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9EDAC-51F8-6149-67D3-647FA01C81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9AAC9A-3A0B-7EE3-5ADA-C725C0AC0E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1E8147-C116-33F1-7273-91EF182347A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1D57438-9377-74BF-782A-FE2F0B632E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D5A06-1BCF-4EA9-AD40-EFAC54EAE03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20117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E5B8B-B89E-BAC2-2ED7-B550C774FA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F464B2-E750-7484-1978-42F9058D61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ADCBDD-B906-3015-E94E-41195556870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UPTIME</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Early identification of issues leading to faster resolution</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Reduction in downtime</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Reduction in truck rolls and unplanned expenditure</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Easy access to Upgrades</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a:p>
            <a:pPr>
              <a:spcAft>
                <a:spcPts val="1200"/>
              </a:spcAf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ENERGY AND SUSTAINABILITY</a:t>
            </a:r>
            <a:endParaRPr kumimoji="0" lang="en-US" sz="1400" b="0" i="0" u="none" strike="noStrike" kern="1200" cap="none" spc="0" normalizeH="0" baseline="0" noProof="0">
              <a:ln>
                <a:noFill/>
              </a:ln>
              <a:solidFill>
                <a:prstClr val="white"/>
              </a:solidFill>
              <a:effectLst/>
              <a:uLnTx/>
              <a:uFillTx/>
              <a:latin typeface="Arial"/>
              <a:ea typeface="+mn-ea"/>
              <a:cs typeface="+mn-cs"/>
            </a:endParaRP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Sustainability monitoring, reporting and optimization through Forge Sustainability suite of applications </a:t>
            </a:r>
          </a:p>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a:p>
            <a:endParaRPr lang="en-US"/>
          </a:p>
        </p:txBody>
      </p:sp>
      <p:sp>
        <p:nvSpPr>
          <p:cNvPr id="4" name="Slide Number Placeholder 3">
            <a:extLst>
              <a:ext uri="{FF2B5EF4-FFF2-40B4-BE49-F238E27FC236}">
                <a16:creationId xmlns:a16="http://schemas.microsoft.com/office/drawing/2014/main" id="{9C67C19C-382B-770D-8992-AAFA005699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D5A06-1BCF-4EA9-AD40-EFAC54EAE03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160756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E4A21-C321-57F4-FFF4-EC5F0534FF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FD87F4-36F8-B69E-0178-044BEFBF2B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A81B7-C520-2266-A047-5F543A60AEB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00E2D54-EFBF-B2EE-7FF8-829866E7AC60}"/>
              </a:ext>
            </a:extLst>
          </p:cNvPr>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a:ln>
                  <a:noFill/>
                </a:ln>
                <a:solidFill>
                  <a:prstClr val="black"/>
                </a:solidFill>
                <a:effectLst/>
                <a:uLnTx/>
                <a:uFillTx/>
                <a:latin typeface="Arial"/>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78452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A4AB8-2A16-B1F2-26C2-D8E4DAB3A1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D004E2-AE2A-50C3-120E-B545811730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D30C78-0709-A62A-C806-55F3CEA46C8B}"/>
              </a:ext>
            </a:extLst>
          </p:cNvPr>
          <p:cNvSpPr>
            <a:spLocks noGrp="1"/>
          </p:cNvSpPr>
          <p:nvPr>
            <p:ph type="body" idx="1"/>
          </p:nvPr>
        </p:nvSpPr>
        <p:spPr/>
        <p:txBody>
          <a:bodyPr/>
          <a:lstStyle/>
          <a:p>
            <a:pPr>
              <a:defRPr/>
            </a:pPr>
            <a:r>
              <a:rPr lang="en-US" sz="1200">
                <a:solidFill>
                  <a:prstClr val="black"/>
                </a:solidFill>
                <a:latin typeface="Arial"/>
              </a:rPr>
              <a:t>For system integrators and service providers, digital services are transforming business operations. The key opportunities and challenges inclu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174625" indent="-174625">
              <a:buFont typeface="Arial,Sans-Serif"/>
              <a:buChar char="•"/>
              <a:defRPr/>
            </a:pPr>
            <a:r>
              <a:rPr lang="en-US" sz="1200">
                <a:solidFill>
                  <a:prstClr val="black"/>
                </a:solidFill>
                <a:latin typeface="Arial"/>
              </a:rPr>
              <a:t>Growing service and project busines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Increasing margin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Delivering maximum value to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Winning and retaining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cs typeface="Arial"/>
              </a:rPr>
              <a:t>Solve for digital workforce needs </a:t>
            </a:r>
          </a:p>
          <a:p>
            <a:pPr marL="0" indent="0">
              <a:buFont typeface="Arial,Sans-Serif"/>
              <a:buNone/>
              <a:defRPr/>
            </a:pPr>
            <a:endParaRPr lang="en-US" sz="1200">
              <a:solidFill>
                <a:prstClr val="black"/>
              </a:solidFill>
              <a:latin typeface="Arial"/>
              <a:cs typeface="Arial"/>
            </a:endParaRPr>
          </a:p>
          <a:p>
            <a:pPr marL="228600" indent="-228600">
              <a:buFont typeface="Arial,Sans-Serif"/>
              <a:buAutoNum type="arabicPeriod"/>
              <a:defRPr/>
            </a:pPr>
            <a:r>
              <a:rPr lang="en-US" sz="1200">
                <a:solidFill>
                  <a:prstClr val="black"/>
                </a:solidFill>
                <a:latin typeface="Arial"/>
                <a:cs typeface="Arial"/>
              </a:rPr>
              <a:t>Reduce cost to serve</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a:solidFill>
                  <a:prstClr val="white"/>
                </a:solidFill>
                <a:latin typeface="Arial"/>
              </a:rPr>
              <a:t>The value derived from implementing any new software service must surpass its associated cost to serve. It is imperative that these services yield a positive return on investment (ROI) to justify their adoption.</a:t>
            </a:r>
          </a:p>
          <a:p>
            <a:pPr marL="228600" indent="-228600">
              <a:buFont typeface="Arial,Sans-Serif"/>
              <a:buAutoNum type="arabicPeriod"/>
              <a:defRPr/>
            </a:pPr>
            <a:endParaRPr lang="en-US" sz="1200">
              <a:solidFill>
                <a:prstClr val="black"/>
              </a:solidFill>
              <a:latin typeface="Arial"/>
              <a:cs typeface="Arial"/>
            </a:endParaRP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sz="1200">
                <a:solidFill>
                  <a:prstClr val="black"/>
                </a:solidFill>
                <a:latin typeface="Arial"/>
                <a:cs typeface="Arial"/>
              </a:rPr>
              <a:t>2. Skilled </a:t>
            </a:r>
            <a:r>
              <a:rPr lang="en-US" sz="1200" err="1">
                <a:solidFill>
                  <a:prstClr val="black"/>
                </a:solidFill>
                <a:latin typeface="Arial"/>
                <a:cs typeface="Arial"/>
              </a:rPr>
              <a:t>labour</a:t>
            </a:r>
            <a:r>
              <a:rPr lang="en-US" sz="1200">
                <a:solidFill>
                  <a:prstClr val="black"/>
                </a:solidFill>
                <a:latin typeface="Arial"/>
                <a:cs typeface="Arial"/>
              </a:rPr>
              <a:t> shortages </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kumimoji="0" lang="en-US" sz="1050" b="0" i="0" u="none" strike="noStrike" kern="1200" cap="none" spc="0" normalizeH="0" baseline="0" noProof="0">
                <a:ln>
                  <a:noFill/>
                </a:ln>
                <a:solidFill>
                  <a:prstClr val="white"/>
                </a:solidFill>
                <a:effectLst/>
                <a:uLnTx/>
                <a:uFillTx/>
                <a:latin typeface="Arial"/>
                <a:cs typeface="Arial"/>
              </a:rPr>
              <a:t>I must adapt my business model to the current job market</a:t>
            </a:r>
            <a:r>
              <a:rPr lang="en-US">
                <a:solidFill>
                  <a:prstClr val="white"/>
                </a:solidFill>
                <a:latin typeface="Arial"/>
                <a:cs typeface="Arial"/>
              </a:rPr>
              <a:t>, enable my workforce with AI driven digital tools, generate capacity to manage 2x contracts</a:t>
            </a:r>
            <a:endParaRPr lang="en-US" sz="105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marL="0" indent="0">
              <a:buFont typeface="Arial,Sans-Serif"/>
              <a:buNone/>
              <a:defRPr/>
            </a:pPr>
            <a:endParaRPr lang="en-US" sz="1200">
              <a:solidFill>
                <a:prstClr val="black"/>
              </a:solidFill>
              <a:latin typeface="Arial"/>
              <a:cs typeface="Arial"/>
            </a:endParaRPr>
          </a:p>
          <a:p>
            <a:r>
              <a:rPr lang="en-US"/>
              <a:t>3. Differentiation </a:t>
            </a:r>
          </a:p>
          <a:p>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need to differentiate my service to retain and win new customers and position my business against the cost savings initiatives for </a:t>
            </a:r>
            <a:b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standard’ work.</a:t>
            </a:r>
            <a:endParaRPr lang="en-US"/>
          </a:p>
        </p:txBody>
      </p:sp>
      <p:sp>
        <p:nvSpPr>
          <p:cNvPr id="4" name="Slide Number Placeholder 3">
            <a:extLst>
              <a:ext uri="{FF2B5EF4-FFF2-40B4-BE49-F238E27FC236}">
                <a16:creationId xmlns:a16="http://schemas.microsoft.com/office/drawing/2014/main" id="{08129060-E431-FEFB-D3D7-397A51BD28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D5A06-1BCF-4EA9-AD40-EFAC54EAE03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0596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6830A-FE68-EC38-AEC8-F3C2A5F78A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AB4E6C-F425-AD59-6B87-0295FC4E3F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8852BB-6DE3-BB34-7623-5D8D942C144F}"/>
              </a:ext>
            </a:extLst>
          </p:cNvPr>
          <p:cNvSpPr>
            <a:spLocks noGrp="1"/>
          </p:cNvSpPr>
          <p:nvPr>
            <p:ph type="body" idx="1"/>
          </p:nvPr>
        </p:nvSpPr>
        <p:spPr/>
        <p:txBody>
          <a:bodyPr/>
          <a:lstStyle/>
          <a:p>
            <a:pPr>
              <a:defRPr/>
            </a:pPr>
            <a:r>
              <a:rPr lang="en-US" sz="1200">
                <a:solidFill>
                  <a:prstClr val="black"/>
                </a:solidFill>
                <a:latin typeface="Arial"/>
              </a:rPr>
              <a:t>For system integrators and service providers, digital services are transforming business operations. The key opportunities and challenges inclu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174625" indent="-174625">
              <a:buFont typeface="Arial,Sans-Serif"/>
              <a:buChar char="•"/>
              <a:defRPr/>
            </a:pPr>
            <a:r>
              <a:rPr lang="en-US" sz="1200">
                <a:solidFill>
                  <a:prstClr val="black"/>
                </a:solidFill>
                <a:latin typeface="Arial"/>
              </a:rPr>
              <a:t>Growing service and project busines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Increasing margin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Delivering maximum value to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Winning and retaining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cs typeface="Arial"/>
              </a:rPr>
              <a:t>Solve for digital workforce needs </a:t>
            </a:r>
          </a:p>
          <a:p>
            <a:pPr marL="0" indent="0">
              <a:buFont typeface="Arial,Sans-Serif"/>
              <a:buNone/>
              <a:defRPr/>
            </a:pPr>
            <a:endParaRPr lang="en-US" sz="1200">
              <a:solidFill>
                <a:prstClr val="black"/>
              </a:solidFill>
              <a:latin typeface="Arial"/>
              <a:cs typeface="Arial"/>
            </a:endParaRPr>
          </a:p>
          <a:p>
            <a:pPr marL="228600" indent="-228600">
              <a:buFont typeface="Arial,Sans-Serif"/>
              <a:buAutoNum type="arabicPeriod"/>
              <a:defRPr/>
            </a:pPr>
            <a:r>
              <a:rPr lang="en-US" sz="1200">
                <a:solidFill>
                  <a:prstClr val="black"/>
                </a:solidFill>
                <a:latin typeface="Arial"/>
                <a:cs typeface="Arial"/>
              </a:rPr>
              <a:t>Reduce cost to serve</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a:solidFill>
                  <a:prstClr val="white"/>
                </a:solidFill>
                <a:latin typeface="Arial"/>
              </a:rPr>
              <a:t>The value derived from implementing any new software service must surpass its associated cost to serve. It is imperative that these services yield a positive return on investment (ROI) to justify their adoption.</a:t>
            </a:r>
          </a:p>
          <a:p>
            <a:pPr marL="228600" indent="-228600">
              <a:buFont typeface="Arial,Sans-Serif"/>
              <a:buAutoNum type="arabicPeriod"/>
              <a:defRPr/>
            </a:pPr>
            <a:endParaRPr lang="en-US" sz="1200">
              <a:solidFill>
                <a:prstClr val="black"/>
              </a:solidFill>
              <a:latin typeface="Arial"/>
              <a:cs typeface="Arial"/>
            </a:endParaRP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sz="1200">
                <a:solidFill>
                  <a:prstClr val="black"/>
                </a:solidFill>
                <a:latin typeface="Arial"/>
                <a:cs typeface="Arial"/>
              </a:rPr>
              <a:t>2. Skilled </a:t>
            </a:r>
            <a:r>
              <a:rPr lang="en-US" sz="1200" err="1">
                <a:solidFill>
                  <a:prstClr val="black"/>
                </a:solidFill>
                <a:latin typeface="Arial"/>
                <a:cs typeface="Arial"/>
              </a:rPr>
              <a:t>labour</a:t>
            </a:r>
            <a:r>
              <a:rPr lang="en-US" sz="1200">
                <a:solidFill>
                  <a:prstClr val="black"/>
                </a:solidFill>
                <a:latin typeface="Arial"/>
                <a:cs typeface="Arial"/>
              </a:rPr>
              <a:t> shortages </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kumimoji="0" lang="en-US" sz="1050" b="0" i="0" u="none" strike="noStrike" kern="1200" cap="none" spc="0" normalizeH="0" baseline="0" noProof="0">
                <a:ln>
                  <a:noFill/>
                </a:ln>
                <a:solidFill>
                  <a:prstClr val="white"/>
                </a:solidFill>
                <a:effectLst/>
                <a:uLnTx/>
                <a:uFillTx/>
                <a:latin typeface="Arial"/>
                <a:cs typeface="Arial"/>
              </a:rPr>
              <a:t>I must adapt my business model to the current job market</a:t>
            </a:r>
            <a:r>
              <a:rPr lang="en-US">
                <a:solidFill>
                  <a:prstClr val="white"/>
                </a:solidFill>
                <a:latin typeface="Arial"/>
                <a:cs typeface="Arial"/>
              </a:rPr>
              <a:t>, enable my workforce with AI driven digital tools, generate capacity to manage 2x contracts</a:t>
            </a:r>
            <a:endParaRPr lang="en-US" sz="105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marL="0" indent="0">
              <a:buFont typeface="Arial,Sans-Serif"/>
              <a:buNone/>
              <a:defRPr/>
            </a:pPr>
            <a:endParaRPr lang="en-US" sz="1200">
              <a:solidFill>
                <a:prstClr val="black"/>
              </a:solidFill>
              <a:latin typeface="Arial"/>
              <a:cs typeface="Arial"/>
            </a:endParaRPr>
          </a:p>
          <a:p>
            <a:r>
              <a:rPr lang="en-US"/>
              <a:t>3. Differentiation </a:t>
            </a:r>
          </a:p>
          <a:p>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need to differentiate my service to retain and win new customers and position my business against the cost savings initiatives for </a:t>
            </a:r>
            <a:b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standard’ work.</a:t>
            </a:r>
            <a:endParaRPr lang="en-US"/>
          </a:p>
        </p:txBody>
      </p:sp>
      <p:sp>
        <p:nvSpPr>
          <p:cNvPr id="4" name="Slide Number Placeholder 3">
            <a:extLst>
              <a:ext uri="{FF2B5EF4-FFF2-40B4-BE49-F238E27FC236}">
                <a16:creationId xmlns:a16="http://schemas.microsoft.com/office/drawing/2014/main" id="{5A4C0A63-5F39-D471-E99E-D90C143816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D5A06-1BCF-4EA9-AD40-EFAC54EAE03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713037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9FB74-3D1D-2586-CA02-36D1A5D968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E76896-C724-E77D-EAE5-9262B7A235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3B3D23-9A01-8EE4-1958-2BC9C6825DB4}"/>
              </a:ext>
            </a:extLst>
          </p:cNvPr>
          <p:cNvSpPr>
            <a:spLocks noGrp="1"/>
          </p:cNvSpPr>
          <p:nvPr>
            <p:ph type="body" idx="1"/>
          </p:nvPr>
        </p:nvSpPr>
        <p:spPr/>
        <p:txBody>
          <a:bodyPr/>
          <a:lstStyle/>
          <a:p>
            <a:pPr>
              <a:defRPr/>
            </a:pPr>
            <a:r>
              <a:rPr lang="en-US" sz="1200">
                <a:solidFill>
                  <a:prstClr val="black"/>
                </a:solidFill>
                <a:latin typeface="Arial"/>
              </a:rPr>
              <a:t>For system integrators and service providers, digital services are transforming business operations. The key opportunities and challenges inclu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174625" indent="-174625">
              <a:buFont typeface="Arial,Sans-Serif"/>
              <a:buChar char="•"/>
              <a:defRPr/>
            </a:pPr>
            <a:r>
              <a:rPr lang="en-US" sz="1200">
                <a:solidFill>
                  <a:prstClr val="black"/>
                </a:solidFill>
                <a:latin typeface="Arial"/>
              </a:rPr>
              <a:t>Growing service and project busines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Increasing margin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Delivering maximum value to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Winning and retaining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cs typeface="Arial"/>
              </a:rPr>
              <a:t>Solve for digital workforce needs </a:t>
            </a:r>
          </a:p>
          <a:p>
            <a:pPr marL="0" indent="0">
              <a:buFont typeface="Arial,Sans-Serif"/>
              <a:buNone/>
              <a:defRPr/>
            </a:pPr>
            <a:endParaRPr lang="en-US" sz="1200">
              <a:solidFill>
                <a:prstClr val="black"/>
              </a:solidFill>
              <a:latin typeface="Arial"/>
              <a:cs typeface="Arial"/>
            </a:endParaRPr>
          </a:p>
          <a:p>
            <a:pPr marL="228600" indent="-228600">
              <a:buFont typeface="Arial,Sans-Serif"/>
              <a:buAutoNum type="arabicPeriod"/>
              <a:defRPr/>
            </a:pPr>
            <a:r>
              <a:rPr lang="en-US" sz="1200">
                <a:solidFill>
                  <a:prstClr val="black"/>
                </a:solidFill>
                <a:latin typeface="Arial"/>
                <a:cs typeface="Arial"/>
              </a:rPr>
              <a:t>Reduce cost to serve</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a:solidFill>
                  <a:prstClr val="white"/>
                </a:solidFill>
                <a:latin typeface="Arial"/>
              </a:rPr>
              <a:t>The value derived from implementing any new software service must surpass its associated cost to serve. It is imperative that these services yield a positive return on investment (ROI) to justify their adoption.</a:t>
            </a:r>
          </a:p>
          <a:p>
            <a:pPr marL="228600" indent="-228600">
              <a:buFont typeface="Arial,Sans-Serif"/>
              <a:buAutoNum type="arabicPeriod"/>
              <a:defRPr/>
            </a:pPr>
            <a:endParaRPr lang="en-US" sz="1200">
              <a:solidFill>
                <a:prstClr val="black"/>
              </a:solidFill>
              <a:latin typeface="Arial"/>
              <a:cs typeface="Arial"/>
            </a:endParaRP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sz="1200">
                <a:solidFill>
                  <a:prstClr val="black"/>
                </a:solidFill>
                <a:latin typeface="Arial"/>
                <a:cs typeface="Arial"/>
              </a:rPr>
              <a:t>2. Skilled </a:t>
            </a:r>
            <a:r>
              <a:rPr lang="en-US" sz="1200" err="1">
                <a:solidFill>
                  <a:prstClr val="black"/>
                </a:solidFill>
                <a:latin typeface="Arial"/>
                <a:cs typeface="Arial"/>
              </a:rPr>
              <a:t>labour</a:t>
            </a:r>
            <a:r>
              <a:rPr lang="en-US" sz="1200">
                <a:solidFill>
                  <a:prstClr val="black"/>
                </a:solidFill>
                <a:latin typeface="Arial"/>
                <a:cs typeface="Arial"/>
              </a:rPr>
              <a:t> shortages </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kumimoji="0" lang="en-US" sz="1050" b="0" i="0" u="none" strike="noStrike" kern="1200" cap="none" spc="0" normalizeH="0" baseline="0" noProof="0">
                <a:ln>
                  <a:noFill/>
                </a:ln>
                <a:solidFill>
                  <a:prstClr val="white"/>
                </a:solidFill>
                <a:effectLst/>
                <a:uLnTx/>
                <a:uFillTx/>
                <a:latin typeface="Arial"/>
                <a:cs typeface="Arial"/>
              </a:rPr>
              <a:t>I must adapt my business model to the current job market</a:t>
            </a:r>
            <a:r>
              <a:rPr lang="en-US">
                <a:solidFill>
                  <a:prstClr val="white"/>
                </a:solidFill>
                <a:latin typeface="Arial"/>
                <a:cs typeface="Arial"/>
              </a:rPr>
              <a:t>, enable my workforce with AI driven digital tools, generate capacity to manage 2x contracts</a:t>
            </a:r>
            <a:endParaRPr lang="en-US" sz="105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marL="0" indent="0">
              <a:buFont typeface="Arial,Sans-Serif"/>
              <a:buNone/>
              <a:defRPr/>
            </a:pPr>
            <a:endParaRPr lang="en-US" sz="1200">
              <a:solidFill>
                <a:prstClr val="black"/>
              </a:solidFill>
              <a:latin typeface="Arial"/>
              <a:cs typeface="Arial"/>
            </a:endParaRPr>
          </a:p>
          <a:p>
            <a:r>
              <a:rPr lang="en-US"/>
              <a:t>3. Differentiation </a:t>
            </a:r>
          </a:p>
          <a:p>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need to differentiate my service to retain and win new customers and position my business against the cost savings initiatives for </a:t>
            </a:r>
            <a:b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standard’ work.</a:t>
            </a:r>
            <a:endParaRPr lang="en-US"/>
          </a:p>
        </p:txBody>
      </p:sp>
      <p:sp>
        <p:nvSpPr>
          <p:cNvPr id="4" name="Slide Number Placeholder 3">
            <a:extLst>
              <a:ext uri="{FF2B5EF4-FFF2-40B4-BE49-F238E27FC236}">
                <a16:creationId xmlns:a16="http://schemas.microsoft.com/office/drawing/2014/main" id="{33376A49-6B08-EC15-3B18-9D9063FD55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D5A06-1BCF-4EA9-AD40-EFAC54EAE03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91385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E80E61-764E-C381-D245-59118CDFD6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0236DD-9401-9B5C-B8C4-2600E1D0D0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28FD6A-4B7F-D46D-0A37-1373CCC91EB4}"/>
              </a:ext>
            </a:extLst>
          </p:cNvPr>
          <p:cNvSpPr>
            <a:spLocks noGrp="1"/>
          </p:cNvSpPr>
          <p:nvPr>
            <p:ph type="body" idx="1"/>
          </p:nvPr>
        </p:nvSpPr>
        <p:spPr/>
        <p:txBody>
          <a:bodyPr/>
          <a:lstStyle/>
          <a:p>
            <a:pPr>
              <a:defRPr/>
            </a:pPr>
            <a:r>
              <a:rPr lang="en-US" sz="1200">
                <a:solidFill>
                  <a:prstClr val="black"/>
                </a:solidFill>
                <a:latin typeface="Arial"/>
              </a:rPr>
              <a:t>For system integrators and service providers, digital services are transforming business operations. The key opportunities and challenges inclu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174625" indent="-174625">
              <a:buFont typeface="Arial,Sans-Serif"/>
              <a:buChar char="•"/>
              <a:defRPr/>
            </a:pPr>
            <a:r>
              <a:rPr lang="en-US" sz="1200">
                <a:solidFill>
                  <a:prstClr val="black"/>
                </a:solidFill>
                <a:latin typeface="Arial"/>
              </a:rPr>
              <a:t>Growing service and project busines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Increasing margin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Delivering maximum value to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Winning and retaining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cs typeface="Arial"/>
              </a:rPr>
              <a:t>Solve for digital workforce needs </a:t>
            </a:r>
          </a:p>
          <a:p>
            <a:pPr marL="0" indent="0">
              <a:buFont typeface="Arial,Sans-Serif"/>
              <a:buNone/>
              <a:defRPr/>
            </a:pPr>
            <a:endParaRPr lang="en-US" sz="1200">
              <a:solidFill>
                <a:prstClr val="black"/>
              </a:solidFill>
              <a:latin typeface="Arial"/>
              <a:cs typeface="Arial"/>
            </a:endParaRPr>
          </a:p>
          <a:p>
            <a:pPr marL="228600" indent="-228600">
              <a:buFont typeface="Arial,Sans-Serif"/>
              <a:buAutoNum type="arabicPeriod"/>
              <a:defRPr/>
            </a:pPr>
            <a:r>
              <a:rPr lang="en-US" sz="1200">
                <a:solidFill>
                  <a:prstClr val="black"/>
                </a:solidFill>
                <a:latin typeface="Arial"/>
                <a:cs typeface="Arial"/>
              </a:rPr>
              <a:t>Reduce cost to serve</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a:solidFill>
                  <a:prstClr val="white"/>
                </a:solidFill>
                <a:latin typeface="Arial"/>
              </a:rPr>
              <a:t>The value derived from implementing any new software service must surpass its associated cost to serve. It is imperative that these services yield a positive return on investment (ROI) to justify their adoption.</a:t>
            </a:r>
          </a:p>
          <a:p>
            <a:pPr marL="228600" indent="-228600">
              <a:buFont typeface="Arial,Sans-Serif"/>
              <a:buAutoNum type="arabicPeriod"/>
              <a:defRPr/>
            </a:pPr>
            <a:endParaRPr lang="en-US" sz="1200">
              <a:solidFill>
                <a:prstClr val="black"/>
              </a:solidFill>
              <a:latin typeface="Arial"/>
              <a:cs typeface="Arial"/>
            </a:endParaRP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sz="1200">
                <a:solidFill>
                  <a:prstClr val="black"/>
                </a:solidFill>
                <a:latin typeface="Arial"/>
                <a:cs typeface="Arial"/>
              </a:rPr>
              <a:t>2. Skilled </a:t>
            </a:r>
            <a:r>
              <a:rPr lang="en-US" sz="1200" err="1">
                <a:solidFill>
                  <a:prstClr val="black"/>
                </a:solidFill>
                <a:latin typeface="Arial"/>
                <a:cs typeface="Arial"/>
              </a:rPr>
              <a:t>labour</a:t>
            </a:r>
            <a:r>
              <a:rPr lang="en-US" sz="1200">
                <a:solidFill>
                  <a:prstClr val="black"/>
                </a:solidFill>
                <a:latin typeface="Arial"/>
                <a:cs typeface="Arial"/>
              </a:rPr>
              <a:t> shortages </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kumimoji="0" lang="en-US" sz="1050" b="0" i="0" u="none" strike="noStrike" kern="1200" cap="none" spc="0" normalizeH="0" baseline="0" noProof="0">
                <a:ln>
                  <a:noFill/>
                </a:ln>
                <a:solidFill>
                  <a:prstClr val="white"/>
                </a:solidFill>
                <a:effectLst/>
                <a:uLnTx/>
                <a:uFillTx/>
                <a:latin typeface="Arial"/>
                <a:cs typeface="Arial"/>
              </a:rPr>
              <a:t>I must adapt my business model to the current job market</a:t>
            </a:r>
            <a:r>
              <a:rPr lang="en-US">
                <a:solidFill>
                  <a:prstClr val="white"/>
                </a:solidFill>
                <a:latin typeface="Arial"/>
                <a:cs typeface="Arial"/>
              </a:rPr>
              <a:t>, enable my workforce with AI driven digital tools, generate capacity to manage 2x contracts</a:t>
            </a:r>
            <a:endParaRPr lang="en-US" sz="105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marL="0" indent="0">
              <a:buFont typeface="Arial,Sans-Serif"/>
              <a:buNone/>
              <a:defRPr/>
            </a:pPr>
            <a:endParaRPr lang="en-US" sz="1200">
              <a:solidFill>
                <a:prstClr val="black"/>
              </a:solidFill>
              <a:latin typeface="Arial"/>
              <a:cs typeface="Arial"/>
            </a:endParaRPr>
          </a:p>
          <a:p>
            <a:r>
              <a:rPr lang="en-US"/>
              <a:t>3. Differentiation </a:t>
            </a:r>
          </a:p>
          <a:p>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need to differentiate my service to retain and win new customers and position my business against the cost savings initiatives for </a:t>
            </a:r>
            <a:b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standard’ work.</a:t>
            </a:r>
            <a:endParaRPr lang="en-US"/>
          </a:p>
        </p:txBody>
      </p:sp>
      <p:sp>
        <p:nvSpPr>
          <p:cNvPr id="4" name="Slide Number Placeholder 3">
            <a:extLst>
              <a:ext uri="{FF2B5EF4-FFF2-40B4-BE49-F238E27FC236}">
                <a16:creationId xmlns:a16="http://schemas.microsoft.com/office/drawing/2014/main" id="{C2A6A375-A8A7-63B4-1E9C-D76116E086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D5A06-1BCF-4EA9-AD40-EFAC54EAE03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66858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E0CFFC-515B-9C96-15CD-B42CEA6501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5650A8-4A44-F739-1F4E-AE9A43B0F8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11ACE7-2D5B-54B8-D65C-0B1725229F3D}"/>
              </a:ext>
            </a:extLst>
          </p:cNvPr>
          <p:cNvSpPr>
            <a:spLocks noGrp="1"/>
          </p:cNvSpPr>
          <p:nvPr>
            <p:ph type="body" idx="1"/>
          </p:nvPr>
        </p:nvSpPr>
        <p:spPr/>
        <p:txBody>
          <a:bodyPr/>
          <a:lstStyle/>
          <a:p>
            <a:pPr>
              <a:defRPr/>
            </a:pPr>
            <a:r>
              <a:rPr lang="en-US" sz="1200">
                <a:solidFill>
                  <a:prstClr val="black"/>
                </a:solidFill>
                <a:latin typeface="Arial"/>
              </a:rPr>
              <a:t>For system integrators and service providers, digital services are transforming business operations. The key opportunities and challenges inclu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174625" indent="-174625">
              <a:buFont typeface="Arial,Sans-Serif"/>
              <a:buChar char="•"/>
              <a:defRPr/>
            </a:pPr>
            <a:r>
              <a:rPr lang="en-US" sz="1200">
                <a:solidFill>
                  <a:prstClr val="black"/>
                </a:solidFill>
                <a:latin typeface="Arial"/>
              </a:rPr>
              <a:t>Growing service and project busines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Increasing margin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Delivering maximum value to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rPr>
              <a:t>Winning and retaining customers</a:t>
            </a:r>
            <a:endParaRPr lang="en-US" sz="1200">
              <a:solidFill>
                <a:prstClr val="black"/>
              </a:solidFill>
              <a:latin typeface="Arial"/>
              <a:cs typeface="Arial"/>
            </a:endParaRPr>
          </a:p>
          <a:p>
            <a:pPr marL="174625" indent="-174625">
              <a:buFont typeface="Arial,Sans-Serif"/>
              <a:buChar char="•"/>
              <a:defRPr/>
            </a:pPr>
            <a:r>
              <a:rPr lang="en-US" sz="1200">
                <a:solidFill>
                  <a:prstClr val="black"/>
                </a:solidFill>
                <a:latin typeface="Arial"/>
                <a:cs typeface="Arial"/>
              </a:rPr>
              <a:t>Solve for digital workforce needs </a:t>
            </a:r>
          </a:p>
          <a:p>
            <a:pPr marL="0" indent="0">
              <a:buFont typeface="Arial,Sans-Serif"/>
              <a:buNone/>
              <a:defRPr/>
            </a:pPr>
            <a:endParaRPr lang="en-US" sz="1200">
              <a:solidFill>
                <a:prstClr val="black"/>
              </a:solidFill>
              <a:latin typeface="Arial"/>
              <a:cs typeface="Arial"/>
            </a:endParaRPr>
          </a:p>
          <a:p>
            <a:pPr marL="228600" indent="-228600">
              <a:buFont typeface="Arial,Sans-Serif"/>
              <a:buAutoNum type="arabicPeriod"/>
              <a:defRPr/>
            </a:pPr>
            <a:r>
              <a:rPr lang="en-US" sz="1200">
                <a:solidFill>
                  <a:prstClr val="black"/>
                </a:solidFill>
                <a:latin typeface="Arial"/>
                <a:cs typeface="Arial"/>
              </a:rPr>
              <a:t>Reduce cost to serve</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a:solidFill>
                  <a:prstClr val="white"/>
                </a:solidFill>
                <a:latin typeface="Arial"/>
              </a:rPr>
              <a:t>The value derived from implementing any new software service must surpass its associated cost to serve. It is imperative that these services yield a positive return on investment (ROI) to justify their adoption.</a:t>
            </a:r>
          </a:p>
          <a:p>
            <a:pPr marL="228600" indent="-228600">
              <a:buFont typeface="Arial,Sans-Serif"/>
              <a:buAutoNum type="arabicPeriod"/>
              <a:defRPr/>
            </a:pPr>
            <a:endParaRPr lang="en-US" sz="1200">
              <a:solidFill>
                <a:prstClr val="black"/>
              </a:solidFill>
              <a:latin typeface="Arial"/>
              <a:cs typeface="Arial"/>
            </a:endParaRP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lang="en-US" sz="1200">
                <a:solidFill>
                  <a:prstClr val="black"/>
                </a:solidFill>
                <a:latin typeface="Arial"/>
                <a:cs typeface="Arial"/>
              </a:rPr>
              <a:t>2. Skilled </a:t>
            </a:r>
            <a:r>
              <a:rPr lang="en-US" sz="1200" err="1">
                <a:solidFill>
                  <a:prstClr val="black"/>
                </a:solidFill>
                <a:latin typeface="Arial"/>
                <a:cs typeface="Arial"/>
              </a:rPr>
              <a:t>labour</a:t>
            </a:r>
            <a:r>
              <a:rPr lang="en-US" sz="1200">
                <a:solidFill>
                  <a:prstClr val="black"/>
                </a:solidFill>
                <a:latin typeface="Arial"/>
                <a:cs typeface="Arial"/>
              </a:rPr>
              <a:t> shortages </a:t>
            </a:r>
          </a:p>
          <a:p>
            <a:pPr marL="0" marR="0" lvl="0" indent="0" algn="l" defTabSz="914400" rtl="0" eaLnBrk="1" fontAlgn="auto" latinLnBrk="0" hangingPunct="1">
              <a:lnSpc>
                <a:spcPct val="100000"/>
              </a:lnSpc>
              <a:spcBef>
                <a:spcPts val="0"/>
              </a:spcBef>
              <a:spcAft>
                <a:spcPts val="0"/>
              </a:spcAft>
              <a:buClrTx/>
              <a:buSzTx/>
              <a:buFont typeface="Arial,Sans-Serif"/>
              <a:buNone/>
              <a:tabLst/>
              <a:defRPr/>
            </a:pPr>
            <a:r>
              <a:rPr kumimoji="0" lang="en-US" sz="1050" b="0" i="0" u="none" strike="noStrike" kern="1200" cap="none" spc="0" normalizeH="0" baseline="0" noProof="0">
                <a:ln>
                  <a:noFill/>
                </a:ln>
                <a:solidFill>
                  <a:prstClr val="white"/>
                </a:solidFill>
                <a:effectLst/>
                <a:uLnTx/>
                <a:uFillTx/>
                <a:latin typeface="Arial"/>
                <a:cs typeface="Arial"/>
              </a:rPr>
              <a:t>I must adapt my business model to the current job market</a:t>
            </a:r>
            <a:r>
              <a:rPr lang="en-US">
                <a:solidFill>
                  <a:prstClr val="white"/>
                </a:solidFill>
                <a:latin typeface="Arial"/>
                <a:cs typeface="Arial"/>
              </a:rPr>
              <a:t>, enable my workforce with AI driven digital tools, generate capacity to manage 2x contracts</a:t>
            </a:r>
            <a:endParaRPr lang="en-US" sz="105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marL="0" indent="0">
              <a:buFont typeface="Arial,Sans-Serif"/>
              <a:buNone/>
              <a:defRPr/>
            </a:pPr>
            <a:endParaRPr lang="en-US" sz="1200">
              <a:solidFill>
                <a:prstClr val="black"/>
              </a:solidFill>
              <a:latin typeface="Arial"/>
              <a:cs typeface="Arial"/>
            </a:endParaRPr>
          </a:p>
          <a:p>
            <a:r>
              <a:rPr lang="en-US"/>
              <a:t>3. Differentiation </a:t>
            </a:r>
          </a:p>
          <a:p>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need to differentiate my service to retain and win new customers and position my business against the cost savings initiatives for </a:t>
            </a:r>
            <a:b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standard’ work.</a:t>
            </a:r>
            <a:endParaRPr lang="en-US"/>
          </a:p>
        </p:txBody>
      </p:sp>
      <p:sp>
        <p:nvSpPr>
          <p:cNvPr id="4" name="Slide Number Placeholder 3">
            <a:extLst>
              <a:ext uri="{FF2B5EF4-FFF2-40B4-BE49-F238E27FC236}">
                <a16:creationId xmlns:a16="http://schemas.microsoft.com/office/drawing/2014/main" id="{A4B3206C-23B2-317C-AE82-E2E61F15B6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D5A06-1BCF-4EA9-AD40-EFAC54EAE03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3758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535D26-1E33-6750-97D6-085CB6A43B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327CC7-7F9C-1ECE-41A0-D44F0FDC6A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8112F7-E825-02FB-3971-EB85C8F05E85}"/>
              </a:ext>
            </a:extLst>
          </p:cNvPr>
          <p:cNvSpPr>
            <a:spLocks noGrp="1"/>
          </p:cNvSpPr>
          <p:nvPr>
            <p:ph type="body" idx="1"/>
          </p:nvPr>
        </p:nvSpPr>
        <p:spPr/>
        <p:txBody>
          <a:bodyPr/>
          <a:lstStyle/>
          <a:p>
            <a:r>
              <a:rPr lang="en-GB"/>
              <a:t>What you see on the screen is an illustration on how easy it is for customers to transact and onboard remote building manager. </a:t>
            </a:r>
          </a:p>
          <a:p>
            <a:endParaRPr lang="en-GB"/>
          </a:p>
          <a:p>
            <a:r>
              <a:rPr lang="en-GB"/>
              <a:t>All starts with customer placing order for the subscription of remote building manager. While customers can place orders the traditional way, they can also use the HBT ecommerce platform to select the part codes  and place the order. Once the order is processed customers get an email confirmation.</a:t>
            </a:r>
          </a:p>
          <a:p>
            <a:r>
              <a:rPr lang="en-GB"/>
              <a:t>As mentioned before the self service admin portal allows our channel partners to create sites and manage subscriptions and users. Once they log in to the admin portal they can see the remote building manager subscription they have purchased which is available to be attached to new sites. They can then go ahead and create the site and attach the relevant subscription to it. </a:t>
            </a:r>
          </a:p>
          <a:p>
            <a:endParaRPr lang="en-GB"/>
          </a:p>
          <a:p>
            <a:r>
              <a:rPr lang="en-GB"/>
              <a:t>I now want to show you a how the gateway is commissioned using the onboarding wizard. </a:t>
            </a:r>
          </a:p>
          <a:p>
            <a:endParaRPr lang="en-GB"/>
          </a:p>
          <a:p>
            <a:r>
              <a:rPr lang="en-GB"/>
              <a:t>What you get at the end is the access to the remote building manager application. </a:t>
            </a:r>
          </a:p>
          <a:p>
            <a:endParaRPr lang="en-GB"/>
          </a:p>
          <a:p>
            <a:r>
              <a:rPr lang="en-GB"/>
              <a:t>I will now give you quick demonstration of the remote building manager application. </a:t>
            </a:r>
          </a:p>
        </p:txBody>
      </p:sp>
      <p:sp>
        <p:nvSpPr>
          <p:cNvPr id="4" name="Slide Number Placeholder 3">
            <a:extLst>
              <a:ext uri="{FF2B5EF4-FFF2-40B4-BE49-F238E27FC236}">
                <a16:creationId xmlns:a16="http://schemas.microsoft.com/office/drawing/2014/main" id="{8CEE2991-F36C-46EF-BC74-50291A5BBD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34836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8D468-2063-9574-7BB0-D7FA00E77E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D5B28-1316-4C31-2E1E-A53625038E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811B18-761E-72C7-DAF3-9C0224BC1DF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4299015-D166-6F11-F06F-4172450C93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081059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21.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6.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7.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8.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27,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6B6DC1DD-1DCC-FCCC-3074-3E340885E91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1732" y="6178496"/>
            <a:ext cx="1762335" cy="327980"/>
          </a:xfrm>
          <a:prstGeom prst="rect">
            <a:avLst/>
          </a:prstGeom>
        </p:spPr>
      </p:pic>
    </p:spTree>
    <p:extLst>
      <p:ext uri="{BB962C8B-B14F-4D97-AF65-F5344CB8AC3E}">
        <p14:creationId xmlns:p14="http://schemas.microsoft.com/office/powerpoint/2010/main" val="1221999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 uri="{C183D7F6-B498-43B3-948B-1728B52AA6E4}">
                <adec:decorative xmlns:adec="http://schemas.microsoft.com/office/drawing/2017/decorative" val="1"/>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 uri="{C183D7F6-B498-43B3-948B-1728B52AA6E4}">
                <adec:decorative xmlns:adec="http://schemas.microsoft.com/office/drawing/2017/decorative" val="1"/>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6">
            <a:extLst>
              <a:ext uri="{FF2B5EF4-FFF2-40B4-BE49-F238E27FC236}">
                <a16:creationId xmlns:a16="http://schemas.microsoft.com/office/drawing/2014/main" id="{5AF82B62-65EB-07C8-78F9-44A33AFBA456}"/>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
        <p:nvSpPr>
          <p:cNvPr id="6" name="Slide Number Placeholder 5">
            <a:extLst>
              <a:ext uri="{FF2B5EF4-FFF2-40B4-BE49-F238E27FC236}">
                <a16:creationId xmlns:a16="http://schemas.microsoft.com/office/drawing/2014/main" id="{7C9446BA-0FD3-4FFF-B220-7298D3F88A4C}"/>
              </a:ex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397026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195556256"/>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118148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41419209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00600"/>
            <a:ext cx="2819400" cy="1066801"/>
          </a:xfrm>
        </p:spPr>
        <p:txBody>
          <a:bodyPr tIns="0" bIns="182880" anchor="t" anchorCtr="0"/>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673625"/>
          </a:xfrm>
          <a:prstGeom prst="rect">
            <a:avLst/>
          </a:prstGeom>
        </p:spPr>
        <p:txBody>
          <a:bodyPr lIns="0" tIns="0" rIns="0" bIns="0" anchor="t"/>
          <a:lstStyle>
            <a:lvl1pPr algn="r">
              <a:defRPr sz="1600" b="1">
                <a:solidFill>
                  <a:schemeClr val="tx1"/>
                </a:solidFill>
                <a:latin typeface="+mn-lt"/>
              </a:defRPr>
            </a:lvl1pPr>
          </a:lstStyle>
          <a:p>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952250397"/>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80000"/>
              </a:lnSpc>
              <a:defRPr lang="en-US" sz="44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868865963"/>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8382000"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604759724"/>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293992267"/>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CAB2A323-0749-4F5A-9A71-D373C17ED9C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515163383"/>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5600700" cy="2019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4082133409"/>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5790127"/>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Tree>
    <p:extLst>
      <p:ext uri="{BB962C8B-B14F-4D97-AF65-F5344CB8AC3E}">
        <p14:creationId xmlns:p14="http://schemas.microsoft.com/office/powerpoint/2010/main" val="221475629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80000"/>
              </a:lnSpc>
              <a:defRPr sz="88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bg1"/>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3692792079"/>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accent4"/>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60201292"/>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401017748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4" name="Title 3">
            <a:extLst>
              <a:ext uri="{FF2B5EF4-FFF2-40B4-BE49-F238E27FC236}">
                <a16:creationId xmlns:a16="http://schemas.microsoft.com/office/drawing/2014/main" id="{AAA7EA89-1605-4864-AB17-13FA124944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696557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68508057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81288380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11261201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903787502"/>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293163747"/>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03842928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100000"/>
              </a:lnSpc>
              <a:spcBef>
                <a:spcPts val="400"/>
              </a:spcBef>
              <a:buClr>
                <a:schemeClr val="accent1"/>
              </a:buClr>
              <a:buFont typeface="+mj-lt"/>
              <a:buAutoNum type="arabicPeriod"/>
              <a:defRPr sz="2400" b="1"/>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100000"/>
              </a:lnSpc>
              <a:spcBef>
                <a:spcPts val="400"/>
              </a:spcBef>
              <a:buClr>
                <a:schemeClr val="accent1"/>
              </a:buClr>
              <a:buFont typeface="+mj-lt"/>
              <a:buAutoNum type="arabicPeriod" startAt="4"/>
              <a:defRPr sz="2400"/>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Tree>
    <p:extLst>
      <p:ext uri="{BB962C8B-B14F-4D97-AF65-F5344CB8AC3E}">
        <p14:creationId xmlns:p14="http://schemas.microsoft.com/office/powerpoint/2010/main" val="230629079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88502588"/>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36708530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160930698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6571501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7497775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52951576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24927"/>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5884035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3611376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795666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3" name="Rectangle 23">
            <a:extLst>
              <a:ext uri="{FF2B5EF4-FFF2-40B4-BE49-F238E27FC236}">
                <a16:creationId xmlns:a16="http://schemas.microsoft.com/office/drawing/2014/main" id="{F681587E-4DF3-EDA9-D475-3F125132E17E}"/>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5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1712632329"/>
      </p:ext>
    </p:extLst>
  </p:cSld>
  <p:clrMapOvr>
    <a:masterClrMapping/>
  </p:clrMapOvr>
  <p:extLst>
    <p:ext uri="{DCECCB84-F9BA-43D5-87BE-67443E8EF086}">
      <p15:sldGuideLst xmlns:p15="http://schemas.microsoft.com/office/powerpoint/2012/main">
        <p15:guide id="2" pos="5592"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45474367"/>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4122063"/>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068340494"/>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86288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202914966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32194221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55234905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0" y="2978965"/>
            <a:ext cx="3159659" cy="914400"/>
          </a:xfrm>
          <a:prstGeom prst="rect">
            <a:avLst/>
          </a:prstGeom>
          <a:noFill/>
        </p:spPr>
        <p:txBody>
          <a:bodyPr wrap="none" lIns="0" tIns="0" rIns="0" bIns="0" rtlCol="0" anchor="ctr">
            <a:noAutofit/>
          </a:bodyPr>
          <a:lstStyle/>
          <a:p>
            <a:pPr algn="ctr"/>
            <a:r>
              <a:rPr lang="en-US" sz="6600" b="1">
                <a:solidFill>
                  <a:schemeClr val="bg1"/>
                </a:solidFill>
                <a:latin typeface="+mj-lt"/>
              </a:rPr>
              <a:t>END OF THE TEMPLATE</a:t>
            </a:r>
          </a:p>
        </p:txBody>
      </p:sp>
    </p:spTree>
    <p:extLst>
      <p:ext uri="{BB962C8B-B14F-4D97-AF65-F5344CB8AC3E}">
        <p14:creationId xmlns:p14="http://schemas.microsoft.com/office/powerpoint/2010/main" val="393531001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Tree>
    <p:extLst>
      <p:ext uri="{BB962C8B-B14F-4D97-AF65-F5344CB8AC3E}">
        <p14:creationId xmlns:p14="http://schemas.microsoft.com/office/powerpoint/2010/main" val="11502765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3150945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hasCustomPrompt="1"/>
          </p:nvPr>
        </p:nvSpPr>
        <p:spPr>
          <a:xfrm>
            <a:off x="342901" y="495299"/>
            <a:ext cx="5524500" cy="5850909"/>
          </a:xfrm>
        </p:spPr>
        <p:txBody>
          <a:bodyPr anchor="ctr"/>
          <a:lstStyle>
            <a:lvl1pPr>
              <a:lnSpc>
                <a:spcPct val="100000"/>
              </a:lnSpc>
              <a:spcBef>
                <a:spcPts val="400"/>
              </a:spcBef>
              <a:defRPr sz="3600"/>
            </a:lvl1pPr>
          </a:lstStyle>
          <a:p>
            <a:r>
              <a:rPr lang="en-US"/>
              <a:t>Large Statement </a:t>
            </a:r>
            <a:br>
              <a:rPr lang="en-US"/>
            </a:br>
            <a:r>
              <a:rPr lang="en-US"/>
              <a:t>or quote, 36pt. Lorem </a:t>
            </a:r>
            <a:r>
              <a:rPr lang="en-US" err="1"/>
              <a:t>eos</a:t>
            </a:r>
            <a:r>
              <a:rPr lang="en-US"/>
              <a:t> ipsum dolor sit </a:t>
            </a:r>
            <a:r>
              <a:rPr lang="en-US" err="1"/>
              <a:t>amet</a:t>
            </a:r>
            <a:r>
              <a:rPr lang="en-US"/>
              <a:t>, </a:t>
            </a:r>
            <a:r>
              <a:rPr lang="en-US" err="1"/>
              <a:t>dea</a:t>
            </a:r>
            <a:r>
              <a:rPr lang="en-US"/>
              <a:t> diam </a:t>
            </a:r>
            <a:r>
              <a:rPr lang="en-US" err="1"/>
              <a:t>vitu</a:t>
            </a:r>
            <a:r>
              <a:rPr lang="en-US"/>
              <a:t> </a:t>
            </a:r>
            <a:r>
              <a:rPr lang="en-US" err="1"/>
              <a:t>perata</a:t>
            </a:r>
            <a:r>
              <a:rPr lang="en-US"/>
              <a:t> sea, </a:t>
            </a:r>
            <a:r>
              <a:rPr lang="en-US" err="1"/>
              <a:t>ei</a:t>
            </a:r>
            <a:r>
              <a:rPr lang="en-US"/>
              <a:t> </a:t>
            </a:r>
            <a:r>
              <a:rPr lang="en-US" err="1"/>
              <a:t>luptatum</a:t>
            </a:r>
            <a:r>
              <a:rPr lang="en-US"/>
              <a:t> mines </a:t>
            </a:r>
            <a:r>
              <a:rPr lang="en-US" err="1"/>
              <a:t>archum</a:t>
            </a:r>
            <a:r>
              <a:rPr lang="en-US"/>
              <a:t> </a:t>
            </a:r>
            <a:r>
              <a:rPr lang="en-US" err="1"/>
              <a:t>eos</a:t>
            </a:r>
            <a:r>
              <a:rPr lang="en-US"/>
              <a:t>. </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889829019"/>
      </p:ext>
    </p:extLst>
  </p:cSld>
  <p:clrMapOvr>
    <a:masterClrMapping/>
  </p:clrMapOvr>
  <p:extLst>
    <p:ext uri="{DCECCB84-F9BA-43D5-87BE-67443E8EF086}">
      <p15:sldGuideLst xmlns:p15="http://schemas.microsoft.com/office/powerpoint/2012/main">
        <p15:guide id="1" pos="3696" userDrawn="1">
          <p15:clr>
            <a:srgbClr val="FBAE40"/>
          </p15:clr>
        </p15:guide>
        <p15:guide id="2" pos="3984"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C 32">
    <p:spTree>
      <p:nvGrpSpPr>
        <p:cNvPr id="1" name=""/>
        <p:cNvGrpSpPr/>
        <p:nvPr/>
      </p:nvGrpSpPr>
      <p:grpSpPr>
        <a:xfrm>
          <a:off x="0" y="0"/>
          <a:ext cx="0" cy="0"/>
          <a:chOff x="0" y="0"/>
          <a:chExt cx="0" cy="0"/>
        </a:xfrm>
      </p:grpSpPr>
      <p:sp>
        <p:nvSpPr>
          <p:cNvPr id="5" name="Text Placeholder 3"/>
          <p:cNvSpPr>
            <a:spLocks noGrp="1"/>
          </p:cNvSpPr>
          <p:nvPr>
            <p:ph type="body" sz="half" idx="2" hasCustomPrompt="1"/>
          </p:nvPr>
        </p:nvSpPr>
        <p:spPr>
          <a:xfrm>
            <a:off x="4605867" y="1178427"/>
            <a:ext cx="7059951"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6" name="Title 2"/>
          <p:cNvSpPr>
            <a:spLocks noGrp="1"/>
          </p:cNvSpPr>
          <p:nvPr>
            <p:ph type="title" hasCustomPrompt="1"/>
          </p:nvPr>
        </p:nvSpPr>
        <p:spPr>
          <a:xfrm>
            <a:off x="4605867" y="455085"/>
            <a:ext cx="7059951" cy="660511"/>
          </a:xfrm>
          <a:prstGeom prst="rect">
            <a:avLst/>
          </a:prstGeom>
        </p:spPr>
        <p:txBody>
          <a:bodyPr lIns="0" tIns="0" rIns="0" bIns="0" anchor="ctr"/>
          <a:lstStyle>
            <a:lvl1pPr algn="l">
              <a:defRPr sz="4800">
                <a:solidFill>
                  <a:schemeClr val="tx1">
                    <a:lumMod val="50000"/>
                    <a:lumOff val="50000"/>
                  </a:schemeClr>
                </a:solidFill>
              </a:defRPr>
            </a:lvl1pPr>
          </a:lstStyle>
          <a:p>
            <a:r>
              <a:rPr lang="en-US"/>
              <a:t>Click to edit title style</a:t>
            </a:r>
          </a:p>
        </p:txBody>
      </p:sp>
      <p:sp>
        <p:nvSpPr>
          <p:cNvPr id="17" name="Picture Placeholder 16"/>
          <p:cNvSpPr>
            <a:spLocks noGrp="1"/>
          </p:cNvSpPr>
          <p:nvPr>
            <p:ph type="pic" sz="quarter" idx="12" hasCustomPrompt="1"/>
          </p:nvPr>
        </p:nvSpPr>
        <p:spPr>
          <a:xfrm>
            <a:off x="1464180" y="2141140"/>
            <a:ext cx="3934571" cy="2427291"/>
          </a:xfrm>
          <a:custGeom>
            <a:avLst/>
            <a:gdLst>
              <a:gd name="connsiteX0" fmla="*/ 0 w 2950928"/>
              <a:gd name="connsiteY0" fmla="*/ 0 h 1820468"/>
              <a:gd name="connsiteX1" fmla="*/ 2950928 w 2950928"/>
              <a:gd name="connsiteY1" fmla="*/ 0 h 1820468"/>
              <a:gd name="connsiteX2" fmla="*/ 2950928 w 2950928"/>
              <a:gd name="connsiteY2" fmla="*/ 1820468 h 1820468"/>
              <a:gd name="connsiteX3" fmla="*/ 0 w 2950928"/>
              <a:gd name="connsiteY3" fmla="*/ 1820468 h 1820468"/>
            </a:gdLst>
            <a:ahLst/>
            <a:cxnLst>
              <a:cxn ang="0">
                <a:pos x="connsiteX0" y="connsiteY0"/>
              </a:cxn>
              <a:cxn ang="0">
                <a:pos x="connsiteX1" y="connsiteY1"/>
              </a:cxn>
              <a:cxn ang="0">
                <a:pos x="connsiteX2" y="connsiteY2"/>
              </a:cxn>
              <a:cxn ang="0">
                <a:pos x="connsiteX3" y="connsiteY3"/>
              </a:cxn>
            </a:cxnLst>
            <a:rect l="l" t="t" r="r" b="b"/>
            <a:pathLst>
              <a:path w="2950928" h="1820468">
                <a:moveTo>
                  <a:pt x="0" y="0"/>
                </a:moveTo>
                <a:lnTo>
                  <a:pt x="2950928" y="0"/>
                </a:lnTo>
                <a:lnTo>
                  <a:pt x="2950928" y="1820468"/>
                </a:lnTo>
                <a:lnTo>
                  <a:pt x="0" y="1820468"/>
                </a:lnTo>
                <a:close/>
              </a:path>
            </a:pathLst>
          </a:custGeom>
          <a:solidFill>
            <a:schemeClr val="bg1">
              <a:lumMod val="95000"/>
            </a:schemeClr>
          </a:solidFill>
          <a:ln w="19050">
            <a:noFill/>
          </a:ln>
        </p:spPr>
        <p:txBody>
          <a:bodyPr wrap="square" lIns="0" tIns="0" rIns="0" bIns="182880" anchor="b">
            <a:noAutofit/>
          </a:bodyPr>
          <a:lstStyle>
            <a:lvl1pPr algn="ctr" rtl="0">
              <a:buNone/>
              <a:defRPr sz="1867">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268664630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27,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6B6DC1DD-1DCC-FCCC-3074-3E340885E91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1732" y="6178496"/>
            <a:ext cx="1762335" cy="327980"/>
          </a:xfrm>
          <a:prstGeom prst="rect">
            <a:avLst/>
          </a:prstGeom>
        </p:spPr>
      </p:pic>
    </p:spTree>
    <p:extLst>
      <p:ext uri="{BB962C8B-B14F-4D97-AF65-F5344CB8AC3E}">
        <p14:creationId xmlns:p14="http://schemas.microsoft.com/office/powerpoint/2010/main" val="106941858"/>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27,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4253269836"/>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June 27, 2025</a:t>
            </a:fld>
            <a:endParaRPr lang="en-US"/>
          </a:p>
        </p:txBody>
      </p:sp>
    </p:spTree>
    <p:extLst>
      <p:ext uri="{BB962C8B-B14F-4D97-AF65-F5344CB8AC3E}">
        <p14:creationId xmlns:p14="http://schemas.microsoft.com/office/powerpoint/2010/main" val="1663039360"/>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June 27, 2025</a:t>
            </a:fld>
            <a:endParaRPr lang="en-US"/>
          </a:p>
        </p:txBody>
      </p:sp>
    </p:spTree>
    <p:extLst>
      <p:ext uri="{BB962C8B-B14F-4D97-AF65-F5344CB8AC3E}">
        <p14:creationId xmlns:p14="http://schemas.microsoft.com/office/powerpoint/2010/main" val="2837139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June 27, 2025</a:t>
            </a:fld>
            <a:endParaRPr lang="en-US"/>
          </a:p>
        </p:txBody>
      </p:sp>
      <p:pic>
        <p:nvPicPr>
          <p:cNvPr id="18" name="Picture 17">
            <a:extLst>
              <a:ext uri="{FF2B5EF4-FFF2-40B4-BE49-F238E27FC236}">
                <a16:creationId xmlns:a16="http://schemas.microsoft.com/office/drawing/2014/main" id="{3A7BAEF5-018A-1A8D-1247-A581834FCAD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178496"/>
            <a:ext cx="1762335" cy="327980"/>
          </a:xfrm>
          <a:prstGeom prst="rect">
            <a:avLst/>
          </a:prstGeom>
        </p:spPr>
      </p:pic>
    </p:spTree>
    <p:extLst>
      <p:ext uri="{BB962C8B-B14F-4D97-AF65-F5344CB8AC3E}">
        <p14:creationId xmlns:p14="http://schemas.microsoft.com/office/powerpoint/2010/main" val="3168357048"/>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354492052"/>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pic>
        <p:nvPicPr>
          <p:cNvPr id="9" name="Picture 8">
            <a:extLst>
              <a:ext uri="{FF2B5EF4-FFF2-40B4-BE49-F238E27FC236}">
                <a16:creationId xmlns:a16="http://schemas.microsoft.com/office/drawing/2014/main" id="{19804D85-6B92-8F46-56DC-17E0F8233D2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144033329"/>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
        <p:nvSpPr>
          <p:cNvPr id="4" name="Title 1">
            <a:extLst>
              <a:ext uri="{FF2B5EF4-FFF2-40B4-BE49-F238E27FC236}">
                <a16:creationId xmlns:a16="http://schemas.microsoft.com/office/drawing/2014/main" id="{6943ABCC-87C0-8FAB-F809-89142992B40B}"/>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5" name="Text Placeholder 2">
            <a:extLst>
              <a:ext uri="{FF2B5EF4-FFF2-40B4-BE49-F238E27FC236}">
                <a16:creationId xmlns:a16="http://schemas.microsoft.com/office/drawing/2014/main" id="{C5C28376-1508-D661-24C0-EAFA87552E29}"/>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6">
            <a:extLst>
              <a:ext uri="{FF2B5EF4-FFF2-40B4-BE49-F238E27FC236}">
                <a16:creationId xmlns:a16="http://schemas.microsoft.com/office/drawing/2014/main" id="{47FEA108-4D55-FA4F-4202-447CCCF71D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4081285208"/>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3072122495"/>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300"/>
            <a:ext cx="5524500" cy="5878204"/>
          </a:xfrm>
        </p:spPr>
        <p:txBody>
          <a:bodyPr anchor="ctr"/>
          <a:lstStyle>
            <a:lvl1pPr>
              <a:lnSpc>
                <a:spcPct val="100000"/>
              </a:lnSpc>
              <a:spcBef>
                <a:spcPts val="400"/>
              </a:spcBef>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70752601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Picture 6">
            <a:extLst>
              <a:ext uri="{FF2B5EF4-FFF2-40B4-BE49-F238E27FC236}">
                <a16:creationId xmlns:a16="http://schemas.microsoft.com/office/drawing/2014/main" id="{5AF82B62-65EB-07C8-78F9-44A33AFBA45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3124800257"/>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Tree>
    <p:extLst>
      <p:ext uri="{BB962C8B-B14F-4D97-AF65-F5344CB8AC3E}">
        <p14:creationId xmlns:p14="http://schemas.microsoft.com/office/powerpoint/2010/main" val="3781152714"/>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100000"/>
              </a:lnSpc>
              <a:spcBef>
                <a:spcPts val="400"/>
              </a:spcBef>
              <a:buClr>
                <a:schemeClr val="accent1"/>
              </a:buClr>
              <a:buFont typeface="+mj-lt"/>
              <a:buAutoNum type="arabicPeriod"/>
              <a:defRPr sz="2400" b="1"/>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100000"/>
              </a:lnSpc>
              <a:spcBef>
                <a:spcPts val="400"/>
              </a:spcBef>
              <a:buClr>
                <a:schemeClr val="accent1"/>
              </a:buClr>
              <a:buFont typeface="+mj-lt"/>
              <a:buAutoNum type="arabicPeriod" startAt="4"/>
              <a:defRPr sz="2400"/>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Tree>
    <p:extLst>
      <p:ext uri="{BB962C8B-B14F-4D97-AF65-F5344CB8AC3E}">
        <p14:creationId xmlns:p14="http://schemas.microsoft.com/office/powerpoint/2010/main" val="161890649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3" name="Rectangle 23">
            <a:extLst>
              <a:ext uri="{FF2B5EF4-FFF2-40B4-BE49-F238E27FC236}">
                <a16:creationId xmlns:a16="http://schemas.microsoft.com/office/drawing/2014/main" id="{F681587E-4DF3-EDA9-D475-3F125132E17E}"/>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5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1488865584"/>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299"/>
            <a:ext cx="5524500" cy="5850909"/>
          </a:xfrm>
        </p:spPr>
        <p:txBody>
          <a:bodyPr anchor="ctr"/>
          <a:lstStyle>
            <a:lvl1pPr>
              <a:lnSpc>
                <a:spcPct val="100000"/>
              </a:lnSpc>
              <a:spcBef>
                <a:spcPts val="400"/>
              </a:spcBef>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28825405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300"/>
            <a:ext cx="5524500" cy="5878204"/>
          </a:xfrm>
        </p:spPr>
        <p:txBody>
          <a:bodyPr anchor="ctr"/>
          <a:lstStyle>
            <a:lvl1pPr>
              <a:lnSpc>
                <a:spcPct val="100000"/>
              </a:lnSpc>
              <a:spcBef>
                <a:spcPts val="400"/>
              </a:spcBef>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568657690"/>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lnSpc>
                <a:spcPct val="100000"/>
              </a:lnSpc>
              <a:spcBef>
                <a:spcPts val="400"/>
              </a:spcBef>
            </a:pPr>
            <a:r>
              <a:rPr lang="en-US">
                <a:solidFill>
                  <a:prstClr val="black"/>
                </a:solidFill>
              </a:rPr>
              <a:t>First level of text, Arial Bold 24pt</a:t>
            </a:r>
          </a:p>
          <a:p>
            <a:pPr>
              <a:lnSpc>
                <a:spcPct val="100000"/>
              </a:lnSpc>
              <a:spcBef>
                <a:spcPts val="400"/>
              </a:spcBef>
            </a:pPr>
            <a:r>
              <a:rPr lang="en-US" sz="2200" b="0"/>
              <a:t>Second level</a:t>
            </a:r>
            <a:r>
              <a:rPr lang="en-US" sz="2200" b="0">
                <a:solidFill>
                  <a:prstClr val="black"/>
                </a:solidFill>
              </a:rPr>
              <a:t> of text, Arial 22pt</a:t>
            </a:r>
            <a:endParaRPr lang="en-US" sz="2200" b="0"/>
          </a:p>
        </p:txBody>
      </p:sp>
      <p:sp>
        <p:nvSpPr>
          <p:cNvPr id="2" name="Text Placeholder 6">
            <a:extLst>
              <a:ext uri="{FF2B5EF4-FFF2-40B4-BE49-F238E27FC236}">
                <a16:creationId xmlns:a16="http://schemas.microsoft.com/office/drawing/2014/main" id="{0FBBA11C-1284-25E9-2202-DFF2EF48CFD7}"/>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70425561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Tree>
    <p:extLst>
      <p:ext uri="{BB962C8B-B14F-4D97-AF65-F5344CB8AC3E}">
        <p14:creationId xmlns:p14="http://schemas.microsoft.com/office/powerpoint/2010/main" val="3983840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009DA6B7-96F6-6714-980C-A366518DAFB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283578143"/>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D7A77A03-89FA-DE61-C9BC-ED80C5ED68C5}"/>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0927126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00FA05A-5C58-4939-B23A-CA85D5035290}"/>
              </a:ext>
              <a:ext uri="{C183D7F6-B498-43B3-948B-1728B52AA6E4}">
                <adec:decorative xmlns:adec="http://schemas.microsoft.com/office/drawing/2017/decorative" val="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 uri="{C183D7F6-B498-43B3-948B-1728B52AA6E4}">
                <adec:decorative xmlns:adec="http://schemas.microsoft.com/office/drawing/2017/decorative" val="1"/>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lnSpc>
                <a:spcPct val="100000"/>
              </a:lnSpc>
              <a:spcBef>
                <a:spcPts val="400"/>
              </a:spcBef>
            </a:pPr>
            <a:r>
              <a:rPr lang="en-US">
                <a:solidFill>
                  <a:prstClr val="black"/>
                </a:solidFill>
              </a:rPr>
              <a:t>First level of text, Arial Bold 24pt</a:t>
            </a:r>
          </a:p>
          <a:p>
            <a:pPr>
              <a:lnSpc>
                <a:spcPct val="100000"/>
              </a:lnSpc>
              <a:spcBef>
                <a:spcPts val="400"/>
              </a:spcBef>
            </a:pPr>
            <a:r>
              <a:rPr lang="en-US" sz="2200" b="0"/>
              <a:t>Second level</a:t>
            </a:r>
            <a:r>
              <a:rPr lang="en-US" sz="2200" b="0">
                <a:solidFill>
                  <a:prstClr val="black"/>
                </a:solidFill>
              </a:rPr>
              <a:t> of text, Arial 22pt</a:t>
            </a:r>
            <a:endParaRPr lang="en-US" sz="2200" b="0"/>
          </a:p>
        </p:txBody>
      </p:sp>
      <p:sp>
        <p:nvSpPr>
          <p:cNvPr id="2" name="Text Placeholder 6">
            <a:extLst>
              <a:ext uri="{FF2B5EF4-FFF2-40B4-BE49-F238E27FC236}">
                <a16:creationId xmlns:a16="http://schemas.microsoft.com/office/drawing/2014/main" id="{0FBBA11C-1284-25E9-2202-DFF2EF48CFD7}"/>
              </a:ext>
              <a:ext uri="{C183D7F6-B498-43B3-948B-1728B52AA6E4}">
                <adec:decorative xmlns:adec="http://schemas.microsoft.com/office/drawing/2017/decorative" val="1"/>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6" name="Slide Number Placeholder 5">
            <a:extLst>
              <a:ext uri="{FF2B5EF4-FFF2-40B4-BE49-F238E27FC236}">
                <a16:creationId xmlns:a16="http://schemas.microsoft.com/office/drawing/2014/main" id="{137A6FEB-0F20-4122-83B7-A3A8BF9EA12C}"/>
              </a:ext>
              <a:ext uri="{C183D7F6-B498-43B3-948B-1728B52AA6E4}">
                <adec:decorative xmlns:adec="http://schemas.microsoft.com/office/drawing/2017/decorative" val="1"/>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47401461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2000"/>
            </a:lvl2pPr>
            <a:lvl3pPr marL="720000" indent="-342900">
              <a:lnSpc>
                <a:spcPct val="100000"/>
              </a:lnSpc>
              <a:spcBef>
                <a:spcPts val="400"/>
              </a:spcBef>
              <a:buFont typeface="Arial" panose="020B0604020202020204" pitchFamily="34" charset="0"/>
              <a:buChar char="‒"/>
              <a:defRPr sz="1800"/>
            </a:lvl3pPr>
            <a:lvl4pPr marL="1044000" indent="-342000">
              <a:lnSpc>
                <a:spcPct val="100000"/>
              </a:lnSpc>
              <a:spcBef>
                <a:spcPts val="400"/>
              </a:spcBef>
              <a:buFont typeface="Wingdings" panose="05000000000000000000" pitchFamily="2" charset="2"/>
              <a:buChar char="§"/>
              <a:defRPr sz="1600"/>
            </a:lvl4pPr>
            <a:lvl5pPr marL="1368000" indent="-342000">
              <a:lnSpc>
                <a:spcPct val="100000"/>
              </a:lnSpc>
              <a:spcBef>
                <a:spcPts val="400"/>
              </a:spcBef>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C628086F-C662-1E45-D10A-801CF7C63DED}"/>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04743955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4277D0BA-9BCD-DB25-7E5F-D132338263C2}"/>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433632004"/>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20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3F26ABA6-5DC6-296B-81A3-64A2AA19CBF0}"/>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83831010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15408"/>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21540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5FB1A56D-FD9B-5DC6-E465-32AB455A8DC6}"/>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622660140"/>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515410"/>
            <a:ext cx="2466363"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2"/>
            <a:endParaRPr lang="en-US"/>
          </a:p>
        </p:txBody>
      </p:sp>
      <p:sp>
        <p:nvSpPr>
          <p:cNvPr id="2" name="Text Placeholder 6">
            <a:extLst>
              <a:ext uri="{FF2B5EF4-FFF2-40B4-BE49-F238E27FC236}">
                <a16:creationId xmlns:a16="http://schemas.microsoft.com/office/drawing/2014/main" id="{71C2E6ED-F294-9B2C-99B8-06AE195F4445}"/>
              </a:ext>
            </a:extLst>
          </p:cNvPr>
          <p:cNvSpPr>
            <a:spLocks noGrp="1"/>
          </p:cNvSpPr>
          <p:nvPr>
            <p:ph type="body" sz="quarter" idx="25"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094804158"/>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 name="Text Placeholder 6">
            <a:extLst>
              <a:ext uri="{FF2B5EF4-FFF2-40B4-BE49-F238E27FC236}">
                <a16:creationId xmlns:a16="http://schemas.microsoft.com/office/drawing/2014/main" id="{8AC5AD50-E468-6C17-FF05-D1507408C4F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70318300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 name="Text Placeholder 6">
            <a:extLst>
              <a:ext uri="{FF2B5EF4-FFF2-40B4-BE49-F238E27FC236}">
                <a16:creationId xmlns:a16="http://schemas.microsoft.com/office/drawing/2014/main" id="{93850744-A982-85D8-464C-26EABD919D0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44860696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 name="Text Placeholder 6">
            <a:extLst>
              <a:ext uri="{FF2B5EF4-FFF2-40B4-BE49-F238E27FC236}">
                <a16:creationId xmlns:a16="http://schemas.microsoft.com/office/drawing/2014/main" id="{86AC20B8-6281-CD20-EE13-49D3EED14021}"/>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28338593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59653065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859350240"/>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Tree>
    <p:extLst>
      <p:ext uri="{BB962C8B-B14F-4D97-AF65-F5344CB8AC3E}">
        <p14:creationId xmlns:p14="http://schemas.microsoft.com/office/powerpoint/2010/main" val="16069511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86465918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277740315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277462352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1168240743"/>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119572197"/>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71518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Tree>
    <p:extLst>
      <p:ext uri="{BB962C8B-B14F-4D97-AF65-F5344CB8AC3E}">
        <p14:creationId xmlns:p14="http://schemas.microsoft.com/office/powerpoint/2010/main" val="110662296"/>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43833916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33454450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64907146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1903917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536296D-A8A9-4486-BC21-BD1C0D821F73}"/>
              </a:ext>
              <a:ext uri="{C183D7F6-B498-43B3-948B-1728B52AA6E4}">
                <adec:decorative xmlns:adec="http://schemas.microsoft.com/office/drawing/2017/decorative" val="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 uri="{C183D7F6-B498-43B3-948B-1728B52AA6E4}">
                <adec:decorative xmlns:adec="http://schemas.microsoft.com/office/drawing/2017/decorative" val="0"/>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12" name="Content Placeholder 2">
            <a:extLst>
              <a:ext uri="{FF2B5EF4-FFF2-40B4-BE49-F238E27FC236}">
                <a16:creationId xmlns:a16="http://schemas.microsoft.com/office/drawing/2014/main" id="{A079FC20-395E-44C6-B5D6-DD2C5821EBD6}"/>
              </a:ext>
              <a:ext uri="{C183D7F6-B498-43B3-948B-1728B52AA6E4}">
                <adec:decorative xmlns:adec="http://schemas.microsoft.com/office/drawing/2017/decorative" val="0"/>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009DA6B7-96F6-6714-980C-A366518DAFBA}"/>
              </a:ext>
              <a:ext uri="{C183D7F6-B498-43B3-948B-1728B52AA6E4}">
                <adec:decorative xmlns:adec="http://schemas.microsoft.com/office/drawing/2017/decorative" val="0"/>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6" name="Slide Number Placeholder 5">
            <a:extLst>
              <a:ext uri="{FF2B5EF4-FFF2-40B4-BE49-F238E27FC236}">
                <a16:creationId xmlns:a16="http://schemas.microsoft.com/office/drawing/2014/main" id="{137A6FEB-0F20-4122-83B7-A3A8BF9EA12C}"/>
              </a:ext>
              <a:ext uri="{C183D7F6-B498-43B3-948B-1728B52AA6E4}">
                <adec:decorative xmlns:adec="http://schemas.microsoft.com/office/drawing/2017/decorative" val="1"/>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4115104953"/>
      </p:ext>
    </p:extLst>
  </p:cSld>
  <p:clrMapOvr>
    <a:masterClrMapping/>
  </p:clrMapOvr>
  <p:extLst>
    <p:ext uri="{DCECCB84-F9BA-43D5-87BE-67443E8EF086}">
      <p15:sldGuideLst xmlns:p15="http://schemas.microsoft.com/office/powerpoint/2012/main">
        <p15:guide id="2" pos="3696" userDrawn="1">
          <p15:clr>
            <a:srgbClr val="FBAE40"/>
          </p15:clr>
        </p15:guide>
        <p15:guide id="3" pos="3984"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337981" y="495300"/>
            <a:ext cx="6096000" cy="1495346"/>
          </a:xfrm>
          <a:prstGeom prst="rect">
            <a:avLst/>
          </a:prstGeom>
        </p:spPr>
        <p:txBody>
          <a:bodyPr lIns="0" tIns="0" rIns="0" bIns="0">
            <a:spAutoFit/>
          </a:bodyPr>
          <a:lstStyle/>
          <a:p>
            <a:pPr>
              <a:lnSpc>
                <a:spcPct val="80000"/>
              </a:lnSpc>
            </a:pPr>
            <a:r>
              <a:rPr kumimoji="0" lang="en-US" sz="6000" b="0" i="0" u="none" strike="noStrike" kern="1200" cap="all" spc="-300" normalizeH="0" baseline="0" noProof="0">
                <a:ln>
                  <a:noFill/>
                </a:ln>
                <a:solidFill>
                  <a:schemeClr val="bg1"/>
                </a:solidFill>
                <a:effectLst/>
                <a:uLnTx/>
                <a:uFillTx/>
                <a:latin typeface="+mj-lt"/>
                <a:ea typeface="+mj-ea"/>
                <a:cs typeface="+mj-cs"/>
              </a:rPr>
              <a:t>THANK</a:t>
            </a:r>
            <a:br>
              <a:rPr kumimoji="0" lang="en-US" sz="6000" b="0" i="0" u="none" strike="noStrike" kern="1200" cap="all" spc="-300" normalizeH="0" baseline="0" noProof="0">
                <a:ln>
                  <a:noFill/>
                </a:ln>
                <a:solidFill>
                  <a:schemeClr val="bg1"/>
                </a:solidFill>
                <a:effectLst/>
                <a:uLnTx/>
                <a:uFillTx/>
                <a:latin typeface="+mj-lt"/>
                <a:ea typeface="+mj-ea"/>
                <a:cs typeface="+mj-cs"/>
              </a:rPr>
            </a:br>
            <a:r>
              <a:rPr kumimoji="0" lang="en-US" sz="6000" b="0" i="0" u="none" strike="noStrike" kern="1200" cap="all" spc="-300" normalizeH="0" baseline="0" noProof="0">
                <a:ln>
                  <a:noFill/>
                </a:ln>
                <a:solidFill>
                  <a:schemeClr val="bg1"/>
                </a:solidFill>
                <a:effectLst/>
                <a:uLnTx/>
                <a:uFillTx/>
                <a:latin typeface="+mj-lt"/>
                <a:ea typeface="+mj-ea"/>
                <a:cs typeface="+mj-cs"/>
              </a:rPr>
              <a:t>YOU</a:t>
            </a:r>
            <a:endParaRPr lang="en-US" sz="6000" spc="-300">
              <a:solidFill>
                <a:schemeClr val="bg1"/>
              </a:solidFill>
              <a:latin typeface="+mj-lt"/>
            </a:endParaRPr>
          </a:p>
        </p:txBody>
      </p:sp>
      <p:pic>
        <p:nvPicPr>
          <p:cNvPr id="5" name="Graphic 4">
            <a:extLst>
              <a:ext uri="{FF2B5EF4-FFF2-40B4-BE49-F238E27FC236}">
                <a16:creationId xmlns:a16="http://schemas.microsoft.com/office/drawing/2014/main" id="{791EEC3B-5E82-A314-8971-402ABABF9C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1287650282"/>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Section_Title_Gre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745DEEE-311E-B146-85E2-1B359581A01C}"/>
              </a:ext>
            </a:extLst>
          </p:cNvPr>
          <p:cNvSpPr/>
          <p:nvPr userDrawn="1"/>
        </p:nvSpPr>
        <p:spPr>
          <a:xfrm>
            <a:off x="1236" y="0"/>
            <a:ext cx="12190764" cy="6858000"/>
          </a:xfrm>
          <a:prstGeom prst="rect">
            <a:avLst/>
          </a:prstGeom>
          <a:gradFill>
            <a:gsLst>
              <a:gs pos="63000">
                <a:srgbClr val="45444B"/>
              </a:gs>
              <a:gs pos="1000">
                <a:srgbClr val="39383E">
                  <a:lumMod val="93000"/>
                </a:srgbClr>
              </a:gs>
              <a:gs pos="100000">
                <a:srgbClr val="504F5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A7CDECFA-B1FC-0543-8342-F7CB51FA0A14}"/>
              </a:ext>
            </a:extLst>
          </p:cNvPr>
          <p:cNvPicPr>
            <a:picLocks noChangeAspect="1"/>
          </p:cNvPicPr>
          <p:nvPr userDrawn="1"/>
        </p:nvPicPr>
        <p:blipFill>
          <a:blip r:embed="rId2"/>
          <a:stretch>
            <a:fillRect/>
          </a:stretch>
        </p:blipFill>
        <p:spPr>
          <a:xfrm>
            <a:off x="10818968" y="6303408"/>
            <a:ext cx="933949" cy="171224"/>
          </a:xfrm>
          <a:prstGeom prst="rect">
            <a:avLst/>
          </a:prstGeom>
        </p:spPr>
      </p:pic>
      <p:sp>
        <p:nvSpPr>
          <p:cNvPr id="2" name="Text Placeholder 10">
            <a:extLst>
              <a:ext uri="{FF2B5EF4-FFF2-40B4-BE49-F238E27FC236}">
                <a16:creationId xmlns:a16="http://schemas.microsoft.com/office/drawing/2014/main" id="{90A50919-59AB-AAF6-3719-DD13E2A4D8AC}"/>
              </a:ext>
            </a:extLst>
          </p:cNvPr>
          <p:cNvSpPr>
            <a:spLocks noGrp="1"/>
          </p:cNvSpPr>
          <p:nvPr>
            <p:ph type="body" sz="quarter" idx="15" hasCustomPrompt="1"/>
          </p:nvPr>
        </p:nvSpPr>
        <p:spPr>
          <a:xfrm>
            <a:off x="649288" y="1809750"/>
            <a:ext cx="5446712" cy="1619250"/>
          </a:xfrm>
        </p:spPr>
        <p:txBody>
          <a:bodyPr anchor="t" anchorCtr="0"/>
          <a:lstStyle>
            <a:lvl1pPr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lvl="0"/>
            <a:r>
              <a:rPr lang="en-US"/>
              <a:t>CLICK TO EDIT MASTER TITLE STYLE</a:t>
            </a:r>
          </a:p>
        </p:txBody>
      </p:sp>
      <p:sp>
        <p:nvSpPr>
          <p:cNvPr id="3" name="Rectangle 2">
            <a:extLst>
              <a:ext uri="{FF2B5EF4-FFF2-40B4-BE49-F238E27FC236}">
                <a16:creationId xmlns:a16="http://schemas.microsoft.com/office/drawing/2014/main" id="{E2760BD5-2E59-FFD0-8C60-CB4A80D7051A}"/>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3 by Honeywell International Inc. All rights reserved. </a:t>
            </a:r>
          </a:p>
        </p:txBody>
      </p:sp>
    </p:spTree>
    <p:extLst>
      <p:ext uri="{BB962C8B-B14F-4D97-AF65-F5344CB8AC3E}">
        <p14:creationId xmlns:p14="http://schemas.microsoft.com/office/powerpoint/2010/main" val="348922457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Title and 3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4" name="Content Placeholder 2">
            <a:extLst>
              <a:ext uri="{FF2B5EF4-FFF2-40B4-BE49-F238E27FC236}">
                <a16:creationId xmlns:a16="http://schemas.microsoft.com/office/drawing/2014/main" id="{DE708FB4-25D8-5319-DC13-41FF278EA3FB}"/>
              </a:ext>
            </a:extLst>
          </p:cNvPr>
          <p:cNvSpPr>
            <a:spLocks noGrp="1"/>
          </p:cNvSpPr>
          <p:nvPr>
            <p:ph idx="1"/>
          </p:nvPr>
        </p:nvSpPr>
        <p:spPr>
          <a:xfrm>
            <a:off x="650875" y="1809750"/>
            <a:ext cx="342900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E3CD8C11-85E5-CAF3-8BB1-064480BAC07A}"/>
              </a:ext>
            </a:extLst>
          </p:cNvPr>
          <p:cNvSpPr>
            <a:spLocks noGrp="1"/>
          </p:cNvSpPr>
          <p:nvPr>
            <p:ph idx="13"/>
          </p:nvPr>
        </p:nvSpPr>
        <p:spPr>
          <a:xfrm>
            <a:off x="4381534" y="1809750"/>
            <a:ext cx="342900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36D0F0BE-6603-9A86-E19C-6E4EE74D28A2}"/>
              </a:ext>
            </a:extLst>
          </p:cNvPr>
          <p:cNvSpPr>
            <a:spLocks noGrp="1"/>
          </p:cNvSpPr>
          <p:nvPr>
            <p:ph idx="14"/>
          </p:nvPr>
        </p:nvSpPr>
        <p:spPr>
          <a:xfrm>
            <a:off x="8112124" y="1809750"/>
            <a:ext cx="342900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34774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7_Cover Building_1 red logo ext tit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A74AF780-9DA8-CD87-3030-3AB04C1A0333}"/>
              </a:ext>
            </a:extLst>
          </p:cNvPr>
          <p:cNvSpPr>
            <a:spLocks noGrp="1"/>
          </p:cNvSpPr>
          <p:nvPr>
            <p:ph type="body" sz="quarter" idx="15" hasCustomPrompt="1"/>
          </p:nvPr>
        </p:nvSpPr>
        <p:spPr>
          <a:xfrm>
            <a:off x="649288" y="1395706"/>
            <a:ext cx="9899766" cy="917781"/>
          </a:xfrm>
        </p:spPr>
        <p:txBody>
          <a:bodyPr anchor="b" anchorCtr="0"/>
          <a:lstStyle>
            <a:lvl1pPr algn="l" defTabSz="914400" rtl="0" eaLnBrk="1" latinLnBrk="0" hangingPunct="1">
              <a:lnSpc>
                <a:spcPts val="2600"/>
              </a:lnSpc>
              <a:spcBef>
                <a:spcPct val="0"/>
              </a:spcBef>
              <a:buNone/>
              <a:defRPr lang="en-US" sz="3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marL="0" marR="0" lvl="0" indent="0" algn="l" defTabSz="914400" rtl="0" eaLnBrk="1" fontAlgn="auto" latinLnBrk="0" hangingPunct="1">
              <a:lnSpc>
                <a:spcPts val="3040"/>
              </a:lnSpc>
              <a:spcBef>
                <a:spcPct val="0"/>
              </a:spcBef>
              <a:spcAft>
                <a:spcPts val="0"/>
              </a:spcAft>
              <a:buClrTx/>
              <a:buSzTx/>
              <a:buFontTx/>
              <a:buNone/>
              <a:tabLst/>
              <a:defRPr/>
            </a:pPr>
            <a:r>
              <a:rPr lang="en-US"/>
              <a:t>CLICK TO EDIT MASTER TITLE STYLE</a:t>
            </a:r>
          </a:p>
          <a:p>
            <a:pPr lvl="0"/>
            <a:r>
              <a:rPr lang="en-US"/>
              <a:t>DIT MASTER TITLE STYLE</a:t>
            </a:r>
          </a:p>
        </p:txBody>
      </p:sp>
      <p:pic>
        <p:nvPicPr>
          <p:cNvPr id="10" name="Picture 9">
            <a:extLst>
              <a:ext uri="{FF2B5EF4-FFF2-40B4-BE49-F238E27FC236}">
                <a16:creationId xmlns:a16="http://schemas.microsoft.com/office/drawing/2014/main" id="{A55F3AEF-C1C5-F24A-956A-DDC66039DDC0}"/>
              </a:ext>
            </a:extLst>
          </p:cNvPr>
          <p:cNvPicPr>
            <a:picLocks noChangeAspect="1"/>
          </p:cNvPicPr>
          <p:nvPr userDrawn="1"/>
        </p:nvPicPr>
        <p:blipFill>
          <a:blip r:embed="rId2"/>
          <a:stretch>
            <a:fillRect/>
          </a:stretch>
        </p:blipFill>
        <p:spPr>
          <a:xfrm>
            <a:off x="10140878" y="6236163"/>
            <a:ext cx="1400247" cy="256712"/>
          </a:xfrm>
          <a:prstGeom prst="rect">
            <a:avLst/>
          </a:prstGeom>
        </p:spPr>
      </p:pic>
      <p:sp>
        <p:nvSpPr>
          <p:cNvPr id="2" name="Rectangle 1">
            <a:extLst>
              <a:ext uri="{FF2B5EF4-FFF2-40B4-BE49-F238E27FC236}">
                <a16:creationId xmlns:a16="http://schemas.microsoft.com/office/drawing/2014/main" id="{30308ADE-99FB-A539-587D-88FCC7BC3750}"/>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3 by Honeywell International Inc. All rights reserved. </a:t>
            </a:r>
          </a:p>
        </p:txBody>
      </p:sp>
      <p:sp>
        <p:nvSpPr>
          <p:cNvPr id="5" name="Text Placeholder 19">
            <a:extLst>
              <a:ext uri="{FF2B5EF4-FFF2-40B4-BE49-F238E27FC236}">
                <a16:creationId xmlns:a16="http://schemas.microsoft.com/office/drawing/2014/main" id="{45CC45E3-67BC-1D08-E889-0FDBC8E292A6}"/>
              </a:ext>
            </a:extLst>
          </p:cNvPr>
          <p:cNvSpPr>
            <a:spLocks noGrp="1"/>
          </p:cNvSpPr>
          <p:nvPr>
            <p:ph type="body" sz="quarter" idx="13" hasCustomPrompt="1"/>
          </p:nvPr>
        </p:nvSpPr>
        <p:spPr>
          <a:xfrm>
            <a:off x="650875" y="2743245"/>
            <a:ext cx="6366754" cy="357226"/>
          </a:xfrm>
        </p:spPr>
        <p:txBody>
          <a:bodyPr>
            <a:noAutofit/>
          </a:bodyPr>
          <a:lstStyle>
            <a:lvl1pPr marL="0" indent="0">
              <a:buFontTx/>
              <a:buNone/>
              <a:defRPr sz="1600" b="1" i="0">
                <a:solidFill>
                  <a:schemeClr val="bg1"/>
                </a:solidFill>
                <a:latin typeface="Arial Black" panose="020B0604020202020204" pitchFamily="34" charset="0"/>
                <a:cs typeface="Arial Black"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OJECT DETAILS OR NAME OF PRESENTER </a:t>
            </a:r>
          </a:p>
        </p:txBody>
      </p:sp>
      <p:sp>
        <p:nvSpPr>
          <p:cNvPr id="7" name="Text Placeholder 19">
            <a:extLst>
              <a:ext uri="{FF2B5EF4-FFF2-40B4-BE49-F238E27FC236}">
                <a16:creationId xmlns:a16="http://schemas.microsoft.com/office/drawing/2014/main" id="{1CFCB434-0390-D6C6-32D2-37C53D4825E8}"/>
              </a:ext>
            </a:extLst>
          </p:cNvPr>
          <p:cNvSpPr>
            <a:spLocks noGrp="1"/>
          </p:cNvSpPr>
          <p:nvPr>
            <p:ph type="body" sz="quarter" idx="14" hasCustomPrompt="1"/>
          </p:nvPr>
        </p:nvSpPr>
        <p:spPr>
          <a:xfrm>
            <a:off x="650875" y="3044716"/>
            <a:ext cx="6366754" cy="326956"/>
          </a:xfrm>
        </p:spPr>
        <p:txBody>
          <a:bodyPr/>
          <a:lstStyle>
            <a:lvl1pPr marL="0" indent="0">
              <a:buFontTx/>
              <a:buNone/>
              <a:defRPr sz="1600" b="0" i="0">
                <a:solidFill>
                  <a:schemeClr val="accent5"/>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 00, 2023</a:t>
            </a:r>
          </a:p>
        </p:txBody>
      </p:sp>
      <p:sp>
        <p:nvSpPr>
          <p:cNvPr id="6" name="Picture Placeholder 3">
            <a:extLst>
              <a:ext uri="{FF2B5EF4-FFF2-40B4-BE49-F238E27FC236}">
                <a16:creationId xmlns:a16="http://schemas.microsoft.com/office/drawing/2014/main" id="{9ACCDF8B-F205-8AF3-6221-5B3EFF9D311D}"/>
              </a:ext>
            </a:extLst>
          </p:cNvPr>
          <p:cNvSpPr>
            <a:spLocks noGrp="1"/>
          </p:cNvSpPr>
          <p:nvPr>
            <p:ph type="pic" sz="quarter" idx="16"/>
          </p:nvPr>
        </p:nvSpPr>
        <p:spPr>
          <a:xfrm>
            <a:off x="-3" y="3790219"/>
            <a:ext cx="2030934" cy="2038349"/>
          </a:xfrm>
        </p:spPr>
      </p:sp>
      <p:sp>
        <p:nvSpPr>
          <p:cNvPr id="8" name="Picture Placeholder 5">
            <a:extLst>
              <a:ext uri="{FF2B5EF4-FFF2-40B4-BE49-F238E27FC236}">
                <a16:creationId xmlns:a16="http://schemas.microsoft.com/office/drawing/2014/main" id="{BD351BD0-0315-13C5-F21C-4DDF5EDF5977}"/>
              </a:ext>
            </a:extLst>
          </p:cNvPr>
          <p:cNvSpPr>
            <a:spLocks noGrp="1"/>
          </p:cNvSpPr>
          <p:nvPr>
            <p:ph type="pic" sz="quarter" idx="17"/>
          </p:nvPr>
        </p:nvSpPr>
        <p:spPr>
          <a:xfrm>
            <a:off x="2030931" y="3790217"/>
            <a:ext cx="2030934" cy="2038349"/>
          </a:xfrm>
        </p:spPr>
      </p:sp>
      <p:sp>
        <p:nvSpPr>
          <p:cNvPr id="9" name="Picture Placeholder 7">
            <a:extLst>
              <a:ext uri="{FF2B5EF4-FFF2-40B4-BE49-F238E27FC236}">
                <a16:creationId xmlns:a16="http://schemas.microsoft.com/office/drawing/2014/main" id="{F01D90B7-D5C7-1A98-EC4C-692A518F8EC3}"/>
              </a:ext>
            </a:extLst>
          </p:cNvPr>
          <p:cNvSpPr>
            <a:spLocks noGrp="1"/>
          </p:cNvSpPr>
          <p:nvPr>
            <p:ph type="pic" sz="quarter" idx="18"/>
          </p:nvPr>
        </p:nvSpPr>
        <p:spPr>
          <a:xfrm>
            <a:off x="4061862" y="3790213"/>
            <a:ext cx="2030934" cy="2038349"/>
          </a:xfrm>
        </p:spPr>
      </p:sp>
      <p:sp>
        <p:nvSpPr>
          <p:cNvPr id="13" name="Picture Placeholder 9">
            <a:extLst>
              <a:ext uri="{FF2B5EF4-FFF2-40B4-BE49-F238E27FC236}">
                <a16:creationId xmlns:a16="http://schemas.microsoft.com/office/drawing/2014/main" id="{1634C219-983F-33F4-3ABF-8A7B5728800F}"/>
              </a:ext>
            </a:extLst>
          </p:cNvPr>
          <p:cNvSpPr>
            <a:spLocks noGrp="1"/>
          </p:cNvSpPr>
          <p:nvPr>
            <p:ph type="pic" sz="quarter" idx="19"/>
          </p:nvPr>
        </p:nvSpPr>
        <p:spPr>
          <a:xfrm>
            <a:off x="6092796" y="3790211"/>
            <a:ext cx="2030934" cy="2038349"/>
          </a:xfrm>
        </p:spPr>
      </p:sp>
      <p:sp>
        <p:nvSpPr>
          <p:cNvPr id="14" name="Picture Placeholder 11">
            <a:extLst>
              <a:ext uri="{FF2B5EF4-FFF2-40B4-BE49-F238E27FC236}">
                <a16:creationId xmlns:a16="http://schemas.microsoft.com/office/drawing/2014/main" id="{B854B226-B7B2-ABB6-F890-DEC10B44DB2E}"/>
              </a:ext>
            </a:extLst>
          </p:cNvPr>
          <p:cNvSpPr>
            <a:spLocks noGrp="1"/>
          </p:cNvSpPr>
          <p:nvPr>
            <p:ph type="pic" sz="quarter" idx="20"/>
          </p:nvPr>
        </p:nvSpPr>
        <p:spPr>
          <a:xfrm>
            <a:off x="8130137" y="3790213"/>
            <a:ext cx="2030934" cy="2038349"/>
          </a:xfrm>
        </p:spPr>
      </p:sp>
      <p:sp>
        <p:nvSpPr>
          <p:cNvPr id="15" name="Picture Placeholder 14">
            <a:extLst>
              <a:ext uri="{FF2B5EF4-FFF2-40B4-BE49-F238E27FC236}">
                <a16:creationId xmlns:a16="http://schemas.microsoft.com/office/drawing/2014/main" id="{656F19CD-E6F1-1117-5BFF-8149D57F7787}"/>
              </a:ext>
            </a:extLst>
          </p:cNvPr>
          <p:cNvSpPr>
            <a:spLocks noGrp="1"/>
          </p:cNvSpPr>
          <p:nvPr>
            <p:ph type="pic" sz="quarter" idx="21"/>
          </p:nvPr>
        </p:nvSpPr>
        <p:spPr>
          <a:xfrm>
            <a:off x="10161071" y="3790211"/>
            <a:ext cx="2030934" cy="2038349"/>
          </a:xfrm>
        </p:spPr>
      </p:sp>
    </p:spTree>
    <p:extLst>
      <p:ext uri="{BB962C8B-B14F-4D97-AF65-F5344CB8AC3E}">
        <p14:creationId xmlns:p14="http://schemas.microsoft.com/office/powerpoint/2010/main" val="1560119862"/>
      </p:ext>
    </p:extLst>
  </p:cSld>
  <p:clrMapOvr>
    <a:masterClrMapping/>
  </p:clrMapOvr>
  <p:extLst>
    <p:ext uri="{DCECCB84-F9BA-43D5-87BE-67443E8EF086}">
      <p15:sldGuideLst xmlns:p15="http://schemas.microsoft.com/office/powerpoint/2012/main">
        <p15:guide id="1" pos="638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_Pag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05E726-88B6-F69B-CAE1-624D6D003B7E}"/>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231368943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Blank_Pag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82A2130-94FF-A242-B896-6D0038420441}"/>
              </a:ext>
            </a:extLst>
          </p:cNvPr>
          <p:cNvSpPr>
            <a:spLocks noGrp="1"/>
          </p:cNvSpPr>
          <p:nvPr>
            <p:ph type="title" hasCustomPrompt="1"/>
          </p:nvPr>
        </p:nvSpPr>
        <p:spPr>
          <a:xfrm>
            <a:off x="681701" y="582723"/>
            <a:ext cx="10515600" cy="491222"/>
          </a:xfrm>
          <a:prstGeom prst="rect">
            <a:avLst/>
          </a:prstGeom>
        </p:spPr>
        <p:txBody>
          <a:bodyPr vert="horz" lIns="91440" tIns="45720" rIns="91440" bIns="45720" rtlCol="0" anchor="t">
            <a:noAutofit/>
          </a:bodyPr>
          <a:lstStyle>
            <a:lvl1pPr>
              <a:lnSpc>
                <a:spcPts val="2940"/>
              </a:lnSpc>
              <a:defRPr sz="3000"/>
            </a:lvl1pPr>
          </a:lstStyle>
          <a:p>
            <a:r>
              <a:rPr lang="en-US"/>
              <a:t>AGENDA</a:t>
            </a:r>
          </a:p>
        </p:txBody>
      </p:sp>
      <p:sp>
        <p:nvSpPr>
          <p:cNvPr id="2" name="Slide Number Placeholder 5">
            <a:extLst>
              <a:ext uri="{FF2B5EF4-FFF2-40B4-BE49-F238E27FC236}">
                <a16:creationId xmlns:a16="http://schemas.microsoft.com/office/drawing/2014/main" id="{B0B0571A-9894-FD8A-F2A1-1E0EBDE39AB8}"/>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160345945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8_Title, Subhead, Body Headline - Blk,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62713B1-11F7-A9B6-75B6-676AAEC8AD54}"/>
              </a:ext>
            </a:extLst>
          </p:cNvPr>
          <p:cNvSpPr>
            <a:spLocks noGrp="1"/>
          </p:cNvSpPr>
          <p:nvPr>
            <p:ph type="body" sz="quarter" idx="11"/>
          </p:nvPr>
        </p:nvSpPr>
        <p:spPr>
          <a:xfrm>
            <a:off x="650875" y="2476788"/>
            <a:ext cx="6547367" cy="3211225"/>
          </a:xfrm>
        </p:spPr>
        <p:txBody>
          <a:bodyPr/>
          <a:lstStyle>
            <a:lvl1pPr>
              <a:defRPr sz="16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D265937-F350-AA4B-70D5-CF2FFDE4E3AD}"/>
              </a:ext>
            </a:extLst>
          </p:cNvPr>
          <p:cNvSpPr>
            <a:spLocks noGrp="1"/>
          </p:cNvSpPr>
          <p:nvPr>
            <p:ph type="body" sz="quarter" idx="13" hasCustomPrompt="1"/>
          </p:nvPr>
        </p:nvSpPr>
        <p:spPr>
          <a:xfrm>
            <a:off x="650876" y="1930299"/>
            <a:ext cx="4094380" cy="506413"/>
          </a:xfrm>
        </p:spPr>
        <p:txBody>
          <a:bodyPr/>
          <a:lstStyle>
            <a:lvl1pPr>
              <a:defRPr sz="1600" b="1">
                <a:solidFill>
                  <a:schemeClr val="tx1"/>
                </a:solidFill>
              </a:defRPr>
            </a:lvl1pPr>
          </a:lstStyle>
          <a:p>
            <a:pPr lvl="0"/>
            <a:r>
              <a:rPr lang="en-US"/>
              <a:t>HEADLINE HERE ALL CAPS – UP TO TWO LINES OF TEXT</a:t>
            </a:r>
          </a:p>
        </p:txBody>
      </p:sp>
      <p:sp>
        <p:nvSpPr>
          <p:cNvPr id="4" name="Text Placeholder 5">
            <a:extLst>
              <a:ext uri="{FF2B5EF4-FFF2-40B4-BE49-F238E27FC236}">
                <a16:creationId xmlns:a16="http://schemas.microsoft.com/office/drawing/2014/main" id="{1770A6A9-2509-15A4-1629-485819DFB1C0}"/>
              </a:ext>
            </a:extLst>
          </p:cNvPr>
          <p:cNvSpPr>
            <a:spLocks noGrp="1"/>
          </p:cNvSpPr>
          <p:nvPr>
            <p:ph type="body" sz="quarter" idx="12"/>
          </p:nvPr>
        </p:nvSpPr>
        <p:spPr>
          <a:xfrm>
            <a:off x="649288" y="918729"/>
            <a:ext cx="10891837" cy="372325"/>
          </a:xfrm>
        </p:spPr>
        <p:txBody>
          <a:bodyPr/>
          <a:lstStyle>
            <a:lvl1pPr>
              <a:defRPr sz="1600">
                <a:solidFill>
                  <a:schemeClr val="accent4"/>
                </a:solidFill>
              </a:defRPr>
            </a:lvl1pPr>
          </a:lstStyle>
          <a:p>
            <a:pPr lvl="0"/>
            <a:r>
              <a:rPr lang="en-US"/>
              <a:t>Click to edit Master text styles</a:t>
            </a:r>
          </a:p>
        </p:txBody>
      </p:sp>
      <p:sp>
        <p:nvSpPr>
          <p:cNvPr id="6" name="Title 1">
            <a:extLst>
              <a:ext uri="{FF2B5EF4-FFF2-40B4-BE49-F238E27FC236}">
                <a16:creationId xmlns:a16="http://schemas.microsoft.com/office/drawing/2014/main" id="{63052F83-7F68-FC24-B55C-DBD9E93DDA7A}"/>
              </a:ext>
            </a:extLst>
          </p:cNvPr>
          <p:cNvSpPr>
            <a:spLocks noGrp="1"/>
          </p:cNvSpPr>
          <p:nvPr>
            <p:ph type="title" hasCustomPrompt="1"/>
          </p:nvPr>
        </p:nvSpPr>
        <p:spPr>
          <a:xfrm>
            <a:off x="649316" y="605123"/>
            <a:ext cx="10891808" cy="427041"/>
          </a:xfrm>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94509A14-3F99-2E87-26E3-B4E4698762FA}"/>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248032412"/>
      </p:ext>
    </p:extLst>
  </p:cSld>
  <p:clrMapOvr>
    <a:masterClrMapping/>
  </p:clrMapOvr>
  <p:extLst>
    <p:ext uri="{DCECCB84-F9BA-43D5-87BE-67443E8EF086}">
      <p15:sldGuideLst xmlns:p15="http://schemas.microsoft.com/office/powerpoint/2012/main">
        <p15:guide id="1" pos="4536">
          <p15:clr>
            <a:srgbClr val="FBAE40"/>
          </p15:clr>
        </p15:guide>
        <p15:guide id="2" orient="horz" pos="1037">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5" name="Text Placeholder 4">
            <a:extLst>
              <a:ext uri="{FF2B5EF4-FFF2-40B4-BE49-F238E27FC236}">
                <a16:creationId xmlns:a16="http://schemas.microsoft.com/office/drawing/2014/main" id="{762713B1-11F7-A9B6-75B6-676AAEC8AD54}"/>
              </a:ext>
            </a:extLst>
          </p:cNvPr>
          <p:cNvSpPr>
            <a:spLocks noGrp="1"/>
          </p:cNvSpPr>
          <p:nvPr>
            <p:ph type="body" sz="quarter" idx="11"/>
          </p:nvPr>
        </p:nvSpPr>
        <p:spPr>
          <a:xfrm>
            <a:off x="650875" y="1809750"/>
            <a:ext cx="1089025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231818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Gray Gradient Section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7164EA-1A6A-706C-5182-9876B3482D87}"/>
              </a:ext>
            </a:extLst>
          </p:cNvPr>
          <p:cNvSpPr/>
          <p:nvPr userDrawn="1"/>
        </p:nvSpPr>
        <p:spPr>
          <a:xfrm>
            <a:off x="0" y="0"/>
            <a:ext cx="12190764" cy="6858000"/>
          </a:xfrm>
          <a:prstGeom prst="rect">
            <a:avLst/>
          </a:prstGeom>
          <a:gradFill>
            <a:gsLst>
              <a:gs pos="63000">
                <a:srgbClr val="45444B"/>
              </a:gs>
              <a:gs pos="1000">
                <a:srgbClr val="39383E">
                  <a:lumMod val="93000"/>
                </a:srgbClr>
              </a:gs>
              <a:gs pos="100000">
                <a:srgbClr val="504F5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Text, logo&#10;&#10;Description automatically generated">
            <a:extLst>
              <a:ext uri="{FF2B5EF4-FFF2-40B4-BE49-F238E27FC236}">
                <a16:creationId xmlns:a16="http://schemas.microsoft.com/office/drawing/2014/main" id="{467A48EC-9F27-A331-1A9D-F820E0F882F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50875" y="569901"/>
            <a:ext cx="1576038" cy="914400"/>
          </a:xfrm>
          <a:prstGeom prst="rect">
            <a:avLst/>
          </a:prstGeom>
        </p:spPr>
      </p:pic>
      <p:sp>
        <p:nvSpPr>
          <p:cNvPr id="11" name="Text Placeholder 10">
            <a:extLst>
              <a:ext uri="{FF2B5EF4-FFF2-40B4-BE49-F238E27FC236}">
                <a16:creationId xmlns:a16="http://schemas.microsoft.com/office/drawing/2014/main" id="{A74AF780-9DA8-CD87-3030-3AB04C1A0333}"/>
              </a:ext>
            </a:extLst>
          </p:cNvPr>
          <p:cNvSpPr>
            <a:spLocks noGrp="1"/>
          </p:cNvSpPr>
          <p:nvPr>
            <p:ph type="body" sz="quarter" idx="15" hasCustomPrompt="1"/>
          </p:nvPr>
        </p:nvSpPr>
        <p:spPr>
          <a:xfrm>
            <a:off x="649288" y="1990724"/>
            <a:ext cx="9491590" cy="2886076"/>
          </a:xfrm>
        </p:spPr>
        <p:txBody>
          <a:bodyPr anchor="ctr" anchorCtr="0"/>
          <a:lstStyle>
            <a:lvl1pPr algn="l" defTabSz="914400" rtl="0" eaLnBrk="1" latinLnBrk="0" hangingPunct="1">
              <a:lnSpc>
                <a:spcPts val="5000"/>
              </a:lnSpc>
              <a:spcBef>
                <a:spcPct val="0"/>
              </a:spcBef>
              <a:buNone/>
              <a:defRPr lang="en-US" sz="6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lvl="0"/>
            <a:r>
              <a:rPr lang="en-US"/>
              <a:t>CLICK TO EDIT MASTER TITLE STYLE</a:t>
            </a:r>
          </a:p>
        </p:txBody>
      </p:sp>
      <p:pic>
        <p:nvPicPr>
          <p:cNvPr id="10" name="Picture 9">
            <a:extLst>
              <a:ext uri="{FF2B5EF4-FFF2-40B4-BE49-F238E27FC236}">
                <a16:creationId xmlns:a16="http://schemas.microsoft.com/office/drawing/2014/main" id="{A55F3AEF-C1C5-F24A-956A-DDC66039DDC0}"/>
              </a:ext>
            </a:extLst>
          </p:cNvPr>
          <p:cNvPicPr>
            <a:picLocks noChangeAspect="1"/>
          </p:cNvPicPr>
          <p:nvPr userDrawn="1"/>
        </p:nvPicPr>
        <p:blipFill>
          <a:blip r:embed="rId3"/>
          <a:stretch>
            <a:fillRect/>
          </a:stretch>
        </p:blipFill>
        <p:spPr>
          <a:xfrm>
            <a:off x="10140878" y="6236163"/>
            <a:ext cx="1400247" cy="256712"/>
          </a:xfrm>
          <a:prstGeom prst="rect">
            <a:avLst/>
          </a:prstGeom>
        </p:spPr>
      </p:pic>
      <p:sp>
        <p:nvSpPr>
          <p:cNvPr id="2" name="Rectangle 1">
            <a:extLst>
              <a:ext uri="{FF2B5EF4-FFF2-40B4-BE49-F238E27FC236}">
                <a16:creationId xmlns:a16="http://schemas.microsoft.com/office/drawing/2014/main" id="{30308ADE-99FB-A539-587D-88FCC7BC3750}"/>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4 by Honeywell International Inc. All rights reserved. </a:t>
            </a:r>
          </a:p>
        </p:txBody>
      </p:sp>
    </p:spTree>
    <p:extLst>
      <p:ext uri="{BB962C8B-B14F-4D97-AF65-F5344CB8AC3E}">
        <p14:creationId xmlns:p14="http://schemas.microsoft.com/office/powerpoint/2010/main" val="295490845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83CF89B-CF3F-BE41-90F6-CD93581AD65D}"/>
              </a:ext>
            </a:extLst>
          </p:cNvPr>
          <p:cNvSpPr>
            <a:spLocks noGrp="1"/>
          </p:cNvSpPr>
          <p:nvPr>
            <p:ph type="title" hasCustomPrompt="1"/>
          </p:nvPr>
        </p:nvSpPr>
        <p:spPr>
          <a:xfrm>
            <a:off x="687725" y="365126"/>
            <a:ext cx="10515600" cy="47103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sz="3200" b="1" i="0">
                <a:latin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SLIDE TITLE</a:t>
            </a:r>
            <a:br>
              <a:rPr lang="en-US" sz="800" b="0">
                <a:solidFill>
                  <a:srgbClr val="FF0000"/>
                </a:solidFill>
                <a:latin typeface="Honeywell Sans TT" panose="02010503040101060203" pitchFamily="2" charset="77"/>
              </a:rPr>
            </a:br>
            <a:endParaRPr lang="en-US"/>
          </a:p>
        </p:txBody>
      </p:sp>
      <p:sp>
        <p:nvSpPr>
          <p:cNvPr id="11" name="Text Placeholder 4">
            <a:extLst>
              <a:ext uri="{FF2B5EF4-FFF2-40B4-BE49-F238E27FC236}">
                <a16:creationId xmlns:a16="http://schemas.microsoft.com/office/drawing/2014/main" id="{2D5BF3B2-ABFD-0041-AE22-CD9C28B00408}"/>
              </a:ext>
            </a:extLst>
          </p:cNvPr>
          <p:cNvSpPr>
            <a:spLocks noGrp="1"/>
          </p:cNvSpPr>
          <p:nvPr>
            <p:ph type="body" sz="quarter" idx="28" hasCustomPrompt="1"/>
          </p:nvPr>
        </p:nvSpPr>
        <p:spPr>
          <a:xfrm>
            <a:off x="687725" y="843663"/>
            <a:ext cx="6386512" cy="317500"/>
          </a:xfrm>
          <a:prstGeom prst="rect">
            <a:avLst/>
          </a:prstGeom>
        </p:spPr>
        <p:txBody>
          <a:bodyPr/>
          <a:lstStyle>
            <a:lvl1pPr>
              <a:defRPr b="0" i="0">
                <a:ln>
                  <a:noFill/>
                </a:ln>
                <a:solidFill>
                  <a:srgbClr val="EE3023"/>
                </a:solidFill>
                <a:latin typeface="Arial" panose="020B0604020202020204" pitchFamily="34" charset="0"/>
                <a:cs typeface="Arial" panose="020B0604020202020204" pitchFamily="34" charset="0"/>
              </a:defRPr>
            </a:lvl1pPr>
          </a:lstStyle>
          <a:p>
            <a:pPr lvl="0"/>
            <a:r>
              <a:rPr lang="en-US"/>
              <a:t>Sub Header Copy (Optional)</a:t>
            </a:r>
          </a:p>
        </p:txBody>
      </p:sp>
    </p:spTree>
    <p:extLst>
      <p:ext uri="{BB962C8B-B14F-4D97-AF65-F5344CB8AC3E}">
        <p14:creationId xmlns:p14="http://schemas.microsoft.com/office/powerpoint/2010/main" val="7506537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D7A77A03-89FA-DE61-C9BC-ED80C5ED68C5}"/>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83306429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3_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18527696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C 29">
    <p:spTree>
      <p:nvGrpSpPr>
        <p:cNvPr id="1" name=""/>
        <p:cNvGrpSpPr/>
        <p:nvPr/>
      </p:nvGrpSpPr>
      <p:grpSpPr>
        <a:xfrm>
          <a:off x="0" y="0"/>
          <a:ext cx="0" cy="0"/>
          <a:chOff x="0" y="0"/>
          <a:chExt cx="0" cy="0"/>
        </a:xfrm>
      </p:grpSpPr>
      <p:sp>
        <p:nvSpPr>
          <p:cNvPr id="5" name="Text Placeholder 3"/>
          <p:cNvSpPr>
            <a:spLocks noGrp="1"/>
          </p:cNvSpPr>
          <p:nvPr>
            <p:ph type="body" sz="half" idx="2" hasCustomPrompt="1"/>
          </p:nvPr>
        </p:nvSpPr>
        <p:spPr>
          <a:xfrm>
            <a:off x="508001" y="1178427"/>
            <a:ext cx="11157817"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6" name="Title 2"/>
          <p:cNvSpPr>
            <a:spLocks noGrp="1"/>
          </p:cNvSpPr>
          <p:nvPr>
            <p:ph type="title"/>
          </p:nvPr>
        </p:nvSpPr>
        <p:spPr>
          <a:xfrm>
            <a:off x="508001" y="455085"/>
            <a:ext cx="11157817" cy="660511"/>
          </a:xfrm>
          <a:prstGeom prst="rect">
            <a:avLst/>
          </a:prstGeom>
        </p:spPr>
        <p:txBody>
          <a:bodyPr lIns="0" tIns="0" rIns="0" bIns="0" anchor="ctr"/>
          <a:lstStyle>
            <a:lvl1pPr algn="l">
              <a:defRPr sz="4800">
                <a:solidFill>
                  <a:schemeClr val="tx1">
                    <a:lumMod val="50000"/>
                    <a:lumOff val="50000"/>
                  </a:schemeClr>
                </a:solidFill>
              </a:defRPr>
            </a:lvl1pPr>
          </a:lstStyle>
          <a:p>
            <a:r>
              <a:rPr lang="en-US"/>
              <a:t>Click to edit Master title style</a:t>
            </a:r>
          </a:p>
        </p:txBody>
      </p:sp>
      <p:sp>
        <p:nvSpPr>
          <p:cNvPr id="13" name="Picture Placeholder 12"/>
          <p:cNvSpPr>
            <a:spLocks noGrp="1"/>
          </p:cNvSpPr>
          <p:nvPr>
            <p:ph type="pic" sz="quarter" idx="12" hasCustomPrompt="1"/>
          </p:nvPr>
        </p:nvSpPr>
        <p:spPr>
          <a:xfrm>
            <a:off x="6306909" y="1893303"/>
            <a:ext cx="4628824" cy="2609836"/>
          </a:xfrm>
          <a:custGeom>
            <a:avLst/>
            <a:gdLst>
              <a:gd name="connsiteX0" fmla="*/ 0 w 3471618"/>
              <a:gd name="connsiteY0" fmla="*/ 0 h 1957377"/>
              <a:gd name="connsiteX1" fmla="*/ 3471618 w 3471618"/>
              <a:gd name="connsiteY1" fmla="*/ 0 h 1957377"/>
              <a:gd name="connsiteX2" fmla="*/ 3471618 w 3471618"/>
              <a:gd name="connsiteY2" fmla="*/ 1957377 h 1957377"/>
              <a:gd name="connsiteX3" fmla="*/ 0 w 3471618"/>
              <a:gd name="connsiteY3" fmla="*/ 1957377 h 1957377"/>
            </a:gdLst>
            <a:ahLst/>
            <a:cxnLst>
              <a:cxn ang="0">
                <a:pos x="connsiteX0" y="connsiteY0"/>
              </a:cxn>
              <a:cxn ang="0">
                <a:pos x="connsiteX1" y="connsiteY1"/>
              </a:cxn>
              <a:cxn ang="0">
                <a:pos x="connsiteX2" y="connsiteY2"/>
              </a:cxn>
              <a:cxn ang="0">
                <a:pos x="connsiteX3" y="connsiteY3"/>
              </a:cxn>
            </a:cxnLst>
            <a:rect l="l" t="t" r="r" b="b"/>
            <a:pathLst>
              <a:path w="3471618" h="1957377">
                <a:moveTo>
                  <a:pt x="0" y="0"/>
                </a:moveTo>
                <a:lnTo>
                  <a:pt x="3471618" y="0"/>
                </a:lnTo>
                <a:lnTo>
                  <a:pt x="3471618" y="1957377"/>
                </a:lnTo>
                <a:lnTo>
                  <a:pt x="0" y="1957377"/>
                </a:lnTo>
                <a:close/>
              </a:path>
            </a:pathLst>
          </a:custGeom>
          <a:solidFill>
            <a:schemeClr val="bg1">
              <a:lumMod val="95000"/>
            </a:schemeClr>
          </a:solidFill>
          <a:ln w="19050">
            <a:noFill/>
          </a:ln>
        </p:spPr>
        <p:txBody>
          <a:bodyPr wrap="square" lIns="0" tIns="0" rIns="0" bIns="182880" anchor="b">
            <a:noAutofit/>
          </a:bodyPr>
          <a:lstStyle>
            <a:lvl1pPr algn="ctr" rtl="0">
              <a:buNone/>
              <a:defRPr sz="1867">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190549027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C 38">
    <p:spTree>
      <p:nvGrpSpPr>
        <p:cNvPr id="1" name=""/>
        <p:cNvGrpSpPr/>
        <p:nvPr/>
      </p:nvGrpSpPr>
      <p:grpSpPr>
        <a:xfrm>
          <a:off x="0" y="0"/>
          <a:ext cx="0" cy="0"/>
          <a:chOff x="0" y="0"/>
          <a:chExt cx="0" cy="0"/>
        </a:xfrm>
      </p:grpSpPr>
      <p:sp>
        <p:nvSpPr>
          <p:cNvPr id="8" name="Text Placeholder 3"/>
          <p:cNvSpPr>
            <a:spLocks noGrp="1"/>
          </p:cNvSpPr>
          <p:nvPr>
            <p:ph type="body" sz="half" idx="2" hasCustomPrompt="1"/>
          </p:nvPr>
        </p:nvSpPr>
        <p:spPr>
          <a:xfrm>
            <a:off x="508001" y="1178427"/>
            <a:ext cx="11157817" cy="231007"/>
          </a:xfrm>
          <a:prstGeom prst="rect">
            <a:avLst/>
          </a:prstGeom>
        </p:spPr>
        <p:txBody>
          <a:bodyPr wrap="none" lIns="0" tIns="0" rIns="0" bIns="0" anchor="ctr">
            <a:noAutofit/>
          </a:bodyPr>
          <a:lstStyle>
            <a:lvl1pPr marL="0" indent="0" algn="ctr">
              <a:buNone/>
              <a:defRPr sz="1600" b="0" baseline="0">
                <a:solidFill>
                  <a:schemeClr val="bg1"/>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9" name="Title 2"/>
          <p:cNvSpPr>
            <a:spLocks noGrp="1"/>
          </p:cNvSpPr>
          <p:nvPr>
            <p:ph type="title"/>
          </p:nvPr>
        </p:nvSpPr>
        <p:spPr>
          <a:xfrm>
            <a:off x="508001" y="455085"/>
            <a:ext cx="11157817" cy="660511"/>
          </a:xfrm>
          <a:prstGeom prst="rect">
            <a:avLst/>
          </a:prstGeom>
        </p:spPr>
        <p:txBody>
          <a:bodyPr lIns="0" tIns="0" rIns="0" bIns="0" anchor="ctr"/>
          <a:lstStyle>
            <a:lvl1pPr algn="ctr">
              <a:defRPr sz="4800">
                <a:solidFill>
                  <a:schemeClr val="bg1"/>
                </a:solidFill>
              </a:defRPr>
            </a:lvl1pPr>
          </a:lstStyle>
          <a:p>
            <a:r>
              <a:rPr lang="en-US"/>
              <a:t>Click to edit Master title</a:t>
            </a:r>
          </a:p>
        </p:txBody>
      </p:sp>
      <p:sp>
        <p:nvSpPr>
          <p:cNvPr id="31" name="Picture Placeholder 30"/>
          <p:cNvSpPr>
            <a:spLocks noGrp="1"/>
          </p:cNvSpPr>
          <p:nvPr>
            <p:ph type="pic" sz="quarter" idx="13" hasCustomPrompt="1"/>
          </p:nvPr>
        </p:nvSpPr>
        <p:spPr>
          <a:xfrm>
            <a:off x="1611368" y="2132165"/>
            <a:ext cx="2598981" cy="1603348"/>
          </a:xfrm>
          <a:custGeom>
            <a:avLst/>
            <a:gdLst>
              <a:gd name="connsiteX0" fmla="*/ 0 w 1949236"/>
              <a:gd name="connsiteY0" fmla="*/ 0 h 1202511"/>
              <a:gd name="connsiteX1" fmla="*/ 1949236 w 1949236"/>
              <a:gd name="connsiteY1" fmla="*/ 0 h 1202511"/>
              <a:gd name="connsiteX2" fmla="*/ 1949236 w 1949236"/>
              <a:gd name="connsiteY2" fmla="*/ 1202511 h 1202511"/>
              <a:gd name="connsiteX3" fmla="*/ 0 w 1949236"/>
              <a:gd name="connsiteY3" fmla="*/ 1202511 h 1202511"/>
            </a:gdLst>
            <a:ahLst/>
            <a:cxnLst>
              <a:cxn ang="0">
                <a:pos x="connsiteX0" y="connsiteY0"/>
              </a:cxn>
              <a:cxn ang="0">
                <a:pos x="connsiteX1" y="connsiteY1"/>
              </a:cxn>
              <a:cxn ang="0">
                <a:pos x="connsiteX2" y="connsiteY2"/>
              </a:cxn>
              <a:cxn ang="0">
                <a:pos x="connsiteX3" y="connsiteY3"/>
              </a:cxn>
            </a:cxnLst>
            <a:rect l="l" t="t" r="r" b="b"/>
            <a:pathLst>
              <a:path w="1949236" h="1202511">
                <a:moveTo>
                  <a:pt x="0" y="0"/>
                </a:moveTo>
                <a:lnTo>
                  <a:pt x="1949236" y="0"/>
                </a:lnTo>
                <a:lnTo>
                  <a:pt x="1949236" y="1202511"/>
                </a:lnTo>
                <a:lnTo>
                  <a:pt x="0" y="1202511"/>
                </a:lnTo>
                <a:close/>
              </a:path>
            </a:pathLst>
          </a:custGeom>
          <a:solidFill>
            <a:schemeClr val="bg1">
              <a:lumMod val="95000"/>
            </a:schemeClr>
          </a:solidFill>
          <a:ln w="19050">
            <a:noFill/>
          </a:ln>
        </p:spPr>
        <p:txBody>
          <a:bodyPr wrap="square" lIns="0" tIns="0" rIns="0" bIns="182880" anchor="b">
            <a:noAutofit/>
          </a:bodyPr>
          <a:lstStyle>
            <a:lvl1pPr algn="ctr" rtl="0">
              <a:buNone/>
              <a:defRPr sz="1867">
                <a:solidFill>
                  <a:schemeClr val="tx1">
                    <a:lumMod val="75000"/>
                    <a:lumOff val="25000"/>
                  </a:schemeClr>
                </a:solidFill>
              </a:defRPr>
            </a:lvl1pPr>
          </a:lstStyle>
          <a:p>
            <a:r>
              <a:rPr lang="en-US"/>
              <a:t>Image Holder</a:t>
            </a:r>
          </a:p>
        </p:txBody>
      </p:sp>
      <p:sp>
        <p:nvSpPr>
          <p:cNvPr id="30" name="Picture Placeholder 29"/>
          <p:cNvSpPr>
            <a:spLocks noGrp="1"/>
          </p:cNvSpPr>
          <p:nvPr>
            <p:ph type="pic" sz="quarter" idx="14" hasCustomPrompt="1"/>
          </p:nvPr>
        </p:nvSpPr>
        <p:spPr>
          <a:xfrm>
            <a:off x="7936319" y="2132165"/>
            <a:ext cx="2598981" cy="1603348"/>
          </a:xfrm>
          <a:custGeom>
            <a:avLst/>
            <a:gdLst>
              <a:gd name="connsiteX0" fmla="*/ 0 w 1949236"/>
              <a:gd name="connsiteY0" fmla="*/ 0 h 1202511"/>
              <a:gd name="connsiteX1" fmla="*/ 1949236 w 1949236"/>
              <a:gd name="connsiteY1" fmla="*/ 0 h 1202511"/>
              <a:gd name="connsiteX2" fmla="*/ 1949236 w 1949236"/>
              <a:gd name="connsiteY2" fmla="*/ 1202511 h 1202511"/>
              <a:gd name="connsiteX3" fmla="*/ 0 w 1949236"/>
              <a:gd name="connsiteY3" fmla="*/ 1202511 h 1202511"/>
            </a:gdLst>
            <a:ahLst/>
            <a:cxnLst>
              <a:cxn ang="0">
                <a:pos x="connsiteX0" y="connsiteY0"/>
              </a:cxn>
              <a:cxn ang="0">
                <a:pos x="connsiteX1" y="connsiteY1"/>
              </a:cxn>
              <a:cxn ang="0">
                <a:pos x="connsiteX2" y="connsiteY2"/>
              </a:cxn>
              <a:cxn ang="0">
                <a:pos x="connsiteX3" y="connsiteY3"/>
              </a:cxn>
            </a:cxnLst>
            <a:rect l="l" t="t" r="r" b="b"/>
            <a:pathLst>
              <a:path w="1949236" h="1202511">
                <a:moveTo>
                  <a:pt x="0" y="0"/>
                </a:moveTo>
                <a:lnTo>
                  <a:pt x="1949236" y="0"/>
                </a:lnTo>
                <a:lnTo>
                  <a:pt x="1949236" y="1202511"/>
                </a:lnTo>
                <a:lnTo>
                  <a:pt x="0" y="1202511"/>
                </a:lnTo>
                <a:close/>
              </a:path>
            </a:pathLst>
          </a:custGeom>
          <a:solidFill>
            <a:schemeClr val="bg1">
              <a:lumMod val="95000"/>
            </a:schemeClr>
          </a:solidFill>
          <a:ln w="19050">
            <a:noFill/>
          </a:ln>
        </p:spPr>
        <p:txBody>
          <a:bodyPr wrap="square" lIns="0" tIns="0" rIns="0" bIns="182880" anchor="b">
            <a:noAutofit/>
          </a:bodyPr>
          <a:lstStyle>
            <a:lvl1pPr algn="ctr" rtl="0">
              <a:buNone/>
              <a:defRPr sz="1867">
                <a:solidFill>
                  <a:schemeClr val="tx1">
                    <a:lumMod val="75000"/>
                    <a:lumOff val="25000"/>
                  </a:schemeClr>
                </a:solidFill>
              </a:defRPr>
            </a:lvl1pPr>
          </a:lstStyle>
          <a:p>
            <a:r>
              <a:rPr lang="en-US"/>
              <a:t>Image Holder</a:t>
            </a:r>
          </a:p>
        </p:txBody>
      </p:sp>
      <p:sp>
        <p:nvSpPr>
          <p:cNvPr id="33" name="Picture Placeholder 32"/>
          <p:cNvSpPr>
            <a:spLocks noGrp="1"/>
          </p:cNvSpPr>
          <p:nvPr>
            <p:ph type="pic" sz="quarter" idx="12" hasCustomPrompt="1"/>
          </p:nvPr>
        </p:nvSpPr>
        <p:spPr>
          <a:xfrm>
            <a:off x="4167217" y="1735243"/>
            <a:ext cx="3876855" cy="2391687"/>
          </a:xfrm>
          <a:custGeom>
            <a:avLst/>
            <a:gdLst>
              <a:gd name="connsiteX0" fmla="*/ 0 w 2907641"/>
              <a:gd name="connsiteY0" fmla="*/ 0 h 1793765"/>
              <a:gd name="connsiteX1" fmla="*/ 2907641 w 2907641"/>
              <a:gd name="connsiteY1" fmla="*/ 0 h 1793765"/>
              <a:gd name="connsiteX2" fmla="*/ 2907641 w 2907641"/>
              <a:gd name="connsiteY2" fmla="*/ 1793765 h 1793765"/>
              <a:gd name="connsiteX3" fmla="*/ 0 w 2907641"/>
              <a:gd name="connsiteY3" fmla="*/ 1793765 h 1793765"/>
            </a:gdLst>
            <a:ahLst/>
            <a:cxnLst>
              <a:cxn ang="0">
                <a:pos x="connsiteX0" y="connsiteY0"/>
              </a:cxn>
              <a:cxn ang="0">
                <a:pos x="connsiteX1" y="connsiteY1"/>
              </a:cxn>
              <a:cxn ang="0">
                <a:pos x="connsiteX2" y="connsiteY2"/>
              </a:cxn>
              <a:cxn ang="0">
                <a:pos x="connsiteX3" y="connsiteY3"/>
              </a:cxn>
            </a:cxnLst>
            <a:rect l="l" t="t" r="r" b="b"/>
            <a:pathLst>
              <a:path w="2907641" h="1793765">
                <a:moveTo>
                  <a:pt x="0" y="0"/>
                </a:moveTo>
                <a:lnTo>
                  <a:pt x="2907641" y="0"/>
                </a:lnTo>
                <a:lnTo>
                  <a:pt x="2907641" y="1793765"/>
                </a:lnTo>
                <a:lnTo>
                  <a:pt x="0" y="1793765"/>
                </a:lnTo>
                <a:close/>
              </a:path>
            </a:pathLst>
          </a:custGeom>
          <a:solidFill>
            <a:schemeClr val="bg1">
              <a:lumMod val="95000"/>
            </a:schemeClr>
          </a:solidFill>
          <a:ln w="19050">
            <a:noFill/>
          </a:ln>
        </p:spPr>
        <p:txBody>
          <a:bodyPr wrap="square" lIns="0" tIns="0" rIns="0" bIns="182880" anchor="b">
            <a:noAutofit/>
          </a:bodyPr>
          <a:lstStyle>
            <a:lvl1pPr algn="ctr" rtl="0">
              <a:buNone/>
              <a:defRPr sz="1867">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138234616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27" name="Picture Placeholder 7"/>
          <p:cNvSpPr>
            <a:spLocks noGrp="1"/>
          </p:cNvSpPr>
          <p:nvPr>
            <p:ph type="pic" sz="quarter" idx="10" hasCustomPrompt="1"/>
          </p:nvPr>
        </p:nvSpPr>
        <p:spPr>
          <a:xfrm>
            <a:off x="0" y="0"/>
            <a:ext cx="12192000" cy="6858000"/>
          </a:xfrm>
          <a:prstGeom prst="rect">
            <a:avLst/>
          </a:prstGeom>
          <a:solidFill>
            <a:schemeClr val="bg1">
              <a:lumMod val="95000"/>
            </a:schemeClr>
          </a:solidFill>
          <a:ln w="19050">
            <a:noFill/>
          </a:ln>
        </p:spPr>
        <p:txBody>
          <a:bodyPr lIns="0" tIns="91440" rIns="0" bIns="1463040" anchor="b"/>
          <a:lstStyle>
            <a:lvl1pPr algn="ctr" rtl="0">
              <a:buNone/>
              <a:defRPr sz="1867">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316085027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27,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6B6DC1DD-1DCC-FCCC-3074-3E340885E91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1732" y="6178496"/>
            <a:ext cx="1762335" cy="327980"/>
          </a:xfrm>
          <a:prstGeom prst="rect">
            <a:avLst/>
          </a:prstGeom>
        </p:spPr>
      </p:pic>
    </p:spTree>
    <p:extLst>
      <p:ext uri="{BB962C8B-B14F-4D97-AF65-F5344CB8AC3E}">
        <p14:creationId xmlns:p14="http://schemas.microsoft.com/office/powerpoint/2010/main" val="159844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27,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79563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June 27, 2025</a:t>
            </a:fld>
            <a:endParaRPr lang="en-US"/>
          </a:p>
        </p:txBody>
      </p:sp>
    </p:spTree>
    <p:extLst>
      <p:ext uri="{BB962C8B-B14F-4D97-AF65-F5344CB8AC3E}">
        <p14:creationId xmlns:p14="http://schemas.microsoft.com/office/powerpoint/2010/main" val="2409347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June 27, 2025</a:t>
            </a:fld>
            <a:endParaRPr lang="en-US"/>
          </a:p>
        </p:txBody>
      </p:sp>
    </p:spTree>
    <p:extLst>
      <p:ext uri="{BB962C8B-B14F-4D97-AF65-F5344CB8AC3E}">
        <p14:creationId xmlns:p14="http://schemas.microsoft.com/office/powerpoint/2010/main" val="300805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June 27, 2025</a:t>
            </a:fld>
            <a:endParaRPr lang="en-US"/>
          </a:p>
        </p:txBody>
      </p:sp>
      <p:pic>
        <p:nvPicPr>
          <p:cNvPr id="18" name="Picture 17">
            <a:extLst>
              <a:ext uri="{FF2B5EF4-FFF2-40B4-BE49-F238E27FC236}">
                <a16:creationId xmlns:a16="http://schemas.microsoft.com/office/drawing/2014/main" id="{3A7BAEF5-018A-1A8D-1247-A581834FCAD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178496"/>
            <a:ext cx="1762335" cy="327980"/>
          </a:xfrm>
          <a:prstGeom prst="rect">
            <a:avLst/>
          </a:prstGeom>
        </p:spPr>
      </p:pic>
    </p:spTree>
    <p:extLst>
      <p:ext uri="{BB962C8B-B14F-4D97-AF65-F5344CB8AC3E}">
        <p14:creationId xmlns:p14="http://schemas.microsoft.com/office/powerpoint/2010/main" val="24019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185129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27,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hasCustomPrompt="1"/>
          </p:nvPr>
        </p:nvSpPr>
        <p:spPr>
          <a:xfrm>
            <a:off x="358820" y="1409700"/>
            <a:ext cx="7939020" cy="2019300"/>
          </a:xfrm>
        </p:spPr>
        <p:txBody>
          <a:bodyPr tIns="0" anchor="t"/>
          <a:lstStyle>
            <a:lvl1pPr algn="l">
              <a:lnSpc>
                <a:spcPct val="70000"/>
              </a:lnSpc>
              <a:defRPr sz="4400" b="0">
                <a:solidFill>
                  <a:schemeClr val="tx1"/>
                </a:solidFill>
              </a:defRPr>
            </a:lvl1pPr>
          </a:lstStyle>
          <a:p>
            <a:r>
              <a:rPr lang="en-US"/>
              <a:t>Presentation title, Arial BLACK, 44pt</a:t>
            </a:r>
            <a:br>
              <a:rPr lang="en-US"/>
            </a:br>
            <a:r>
              <a:rPr lang="en-US"/>
              <a:t>Lorem ipsum </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4053870690"/>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2000"/>
            </a:lvl2pPr>
            <a:lvl3pPr marL="720000" indent="-342900">
              <a:lnSpc>
                <a:spcPct val="100000"/>
              </a:lnSpc>
              <a:spcBef>
                <a:spcPts val="400"/>
              </a:spcBef>
              <a:buFont typeface="Arial" panose="020B0604020202020204" pitchFamily="34" charset="0"/>
              <a:buChar char="‒"/>
              <a:defRPr sz="1800"/>
            </a:lvl3pPr>
            <a:lvl4pPr marL="1044000" indent="-342000">
              <a:lnSpc>
                <a:spcPct val="100000"/>
              </a:lnSpc>
              <a:spcBef>
                <a:spcPts val="400"/>
              </a:spcBef>
              <a:buFont typeface="Wingdings" panose="05000000000000000000" pitchFamily="2" charset="2"/>
              <a:buChar char="§"/>
              <a:defRPr sz="1600"/>
            </a:lvl4pPr>
            <a:lvl5pPr marL="1368000" indent="-342000">
              <a:lnSpc>
                <a:spcPct val="100000"/>
              </a:lnSpc>
              <a:spcBef>
                <a:spcPts val="400"/>
              </a:spcBef>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C628086F-C662-1E45-D10A-801CF7C63DED}"/>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84682153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pic>
        <p:nvPicPr>
          <p:cNvPr id="9" name="Picture 8">
            <a:extLst>
              <a:ext uri="{FF2B5EF4-FFF2-40B4-BE49-F238E27FC236}">
                <a16:creationId xmlns:a16="http://schemas.microsoft.com/office/drawing/2014/main" id="{19804D85-6B92-8F46-56DC-17E0F8233D2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2373461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
        <p:nvSpPr>
          <p:cNvPr id="4" name="Title 1">
            <a:extLst>
              <a:ext uri="{FF2B5EF4-FFF2-40B4-BE49-F238E27FC236}">
                <a16:creationId xmlns:a16="http://schemas.microsoft.com/office/drawing/2014/main" id="{6943ABCC-87C0-8FAB-F809-89142992B40B}"/>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5" name="Text Placeholder 2">
            <a:extLst>
              <a:ext uri="{FF2B5EF4-FFF2-40B4-BE49-F238E27FC236}">
                <a16:creationId xmlns:a16="http://schemas.microsoft.com/office/drawing/2014/main" id="{C5C28376-1508-D661-24C0-EAFA87552E29}"/>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6">
            <a:extLst>
              <a:ext uri="{FF2B5EF4-FFF2-40B4-BE49-F238E27FC236}">
                <a16:creationId xmlns:a16="http://schemas.microsoft.com/office/drawing/2014/main" id="{47FEA108-4D55-FA4F-4202-447CCCF71D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3139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263740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Picture 6">
            <a:extLst>
              <a:ext uri="{FF2B5EF4-FFF2-40B4-BE49-F238E27FC236}">
                <a16:creationId xmlns:a16="http://schemas.microsoft.com/office/drawing/2014/main" id="{5AF82B62-65EB-07C8-78F9-44A33AFBA45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2224933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Tree>
    <p:extLst>
      <p:ext uri="{BB962C8B-B14F-4D97-AF65-F5344CB8AC3E}">
        <p14:creationId xmlns:p14="http://schemas.microsoft.com/office/powerpoint/2010/main" val="144393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100000"/>
              </a:lnSpc>
              <a:spcBef>
                <a:spcPts val="400"/>
              </a:spcBef>
              <a:buClr>
                <a:schemeClr val="accent1"/>
              </a:buClr>
              <a:buFont typeface="+mj-lt"/>
              <a:buAutoNum type="arabicPeriod"/>
              <a:defRPr sz="2400" b="1"/>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100000"/>
              </a:lnSpc>
              <a:spcBef>
                <a:spcPts val="400"/>
              </a:spcBef>
              <a:buClr>
                <a:schemeClr val="accent1"/>
              </a:buClr>
              <a:buFont typeface="+mj-lt"/>
              <a:buAutoNum type="arabicPeriod" startAt="4"/>
              <a:defRPr sz="2400"/>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Tree>
    <p:extLst>
      <p:ext uri="{BB962C8B-B14F-4D97-AF65-F5344CB8AC3E}">
        <p14:creationId xmlns:p14="http://schemas.microsoft.com/office/powerpoint/2010/main" val="36528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3" name="Rectangle 23">
            <a:extLst>
              <a:ext uri="{FF2B5EF4-FFF2-40B4-BE49-F238E27FC236}">
                <a16:creationId xmlns:a16="http://schemas.microsoft.com/office/drawing/2014/main" id="{F681587E-4DF3-EDA9-D475-3F125132E17E}"/>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5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124737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592">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299"/>
            <a:ext cx="5524500" cy="5850909"/>
          </a:xfrm>
        </p:spPr>
        <p:txBody>
          <a:bodyPr anchor="ctr"/>
          <a:lstStyle>
            <a:lvl1pPr>
              <a:lnSpc>
                <a:spcPct val="100000"/>
              </a:lnSpc>
              <a:spcBef>
                <a:spcPts val="400"/>
              </a:spcBef>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66275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300"/>
            <a:ext cx="5524500" cy="5878204"/>
          </a:xfrm>
        </p:spPr>
        <p:txBody>
          <a:bodyPr anchor="ctr"/>
          <a:lstStyle>
            <a:lvl1pPr>
              <a:lnSpc>
                <a:spcPct val="100000"/>
              </a:lnSpc>
              <a:spcBef>
                <a:spcPts val="400"/>
              </a:spcBef>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43393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lnSpc>
                <a:spcPct val="100000"/>
              </a:lnSpc>
              <a:spcBef>
                <a:spcPts val="400"/>
              </a:spcBef>
            </a:pPr>
            <a:r>
              <a:rPr lang="en-US">
                <a:solidFill>
                  <a:prstClr val="black"/>
                </a:solidFill>
              </a:rPr>
              <a:t>First level of text, Arial Bold 24pt</a:t>
            </a:r>
          </a:p>
          <a:p>
            <a:pPr>
              <a:lnSpc>
                <a:spcPct val="100000"/>
              </a:lnSpc>
              <a:spcBef>
                <a:spcPts val="400"/>
              </a:spcBef>
            </a:pPr>
            <a:r>
              <a:rPr lang="en-US" sz="2200" b="0"/>
              <a:t>Second level</a:t>
            </a:r>
            <a:r>
              <a:rPr lang="en-US" sz="2200" b="0">
                <a:solidFill>
                  <a:prstClr val="black"/>
                </a:solidFill>
              </a:rPr>
              <a:t> of text, Arial 22pt</a:t>
            </a:r>
            <a:endParaRPr lang="en-US" sz="2200" b="0"/>
          </a:p>
        </p:txBody>
      </p:sp>
      <p:sp>
        <p:nvSpPr>
          <p:cNvPr id="3" name="Text Placeholder 6">
            <a:extLst>
              <a:ext uri="{FF2B5EF4-FFF2-40B4-BE49-F238E27FC236}">
                <a16:creationId xmlns:a16="http://schemas.microsoft.com/office/drawing/2014/main" id="{DAF4F24D-FC8E-D38B-ECDC-2FBF7150F0FD}"/>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777159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4277D0BA-9BCD-DB25-7E5F-D132338263C2}"/>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728260855"/>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EFDCE3CC-4347-6885-D999-9E2B1E9E9825}"/>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79827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3" name="Text Placeholder 6">
            <a:extLst>
              <a:ext uri="{FF2B5EF4-FFF2-40B4-BE49-F238E27FC236}">
                <a16:creationId xmlns:a16="http://schemas.microsoft.com/office/drawing/2014/main" id="{437FAD78-2320-252D-885A-B084F39E4D47}"/>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29331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3" name="Text Placeholder 6">
            <a:extLst>
              <a:ext uri="{FF2B5EF4-FFF2-40B4-BE49-F238E27FC236}">
                <a16:creationId xmlns:a16="http://schemas.microsoft.com/office/drawing/2014/main" id="{82D4FDBF-0049-5C5C-5B18-C2638B678E9D}"/>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71978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2000"/>
            </a:lvl2pPr>
            <a:lvl3pPr marL="720000" indent="-342900">
              <a:lnSpc>
                <a:spcPct val="100000"/>
              </a:lnSpc>
              <a:spcBef>
                <a:spcPts val="400"/>
              </a:spcBef>
              <a:buFont typeface="Arial" panose="020B0604020202020204" pitchFamily="34" charset="0"/>
              <a:buChar char="‒"/>
              <a:defRPr sz="1800"/>
            </a:lvl3pPr>
            <a:lvl4pPr marL="1044000" indent="-342000">
              <a:lnSpc>
                <a:spcPct val="100000"/>
              </a:lnSpc>
              <a:spcBef>
                <a:spcPts val="400"/>
              </a:spcBef>
              <a:buFont typeface="Wingdings" panose="05000000000000000000" pitchFamily="2" charset="2"/>
              <a:buChar char="§"/>
              <a:defRPr sz="1600"/>
            </a:lvl4pPr>
            <a:lvl5pPr marL="1368000" indent="-342000">
              <a:lnSpc>
                <a:spcPct val="100000"/>
              </a:lnSpc>
              <a:spcBef>
                <a:spcPts val="400"/>
              </a:spcBef>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3" name="Text Placeholder 6">
            <a:extLst>
              <a:ext uri="{FF2B5EF4-FFF2-40B4-BE49-F238E27FC236}">
                <a16:creationId xmlns:a16="http://schemas.microsoft.com/office/drawing/2014/main" id="{20F26EB7-DC04-38F1-436E-22C77822500A}"/>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58499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 name="Text Placeholder 6">
            <a:extLst>
              <a:ext uri="{FF2B5EF4-FFF2-40B4-BE49-F238E27FC236}">
                <a16:creationId xmlns:a16="http://schemas.microsoft.com/office/drawing/2014/main" id="{D743B182-132B-D8EE-1A17-AA23E4BA4887}"/>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47035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20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3" name="Text Placeholder 6">
            <a:extLst>
              <a:ext uri="{FF2B5EF4-FFF2-40B4-BE49-F238E27FC236}">
                <a16:creationId xmlns:a16="http://schemas.microsoft.com/office/drawing/2014/main" id="{9AE8100E-DA9F-24C4-38AA-1466351EEB4F}"/>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91087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4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15408"/>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21540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3" name="Text Placeholder 6">
            <a:extLst>
              <a:ext uri="{FF2B5EF4-FFF2-40B4-BE49-F238E27FC236}">
                <a16:creationId xmlns:a16="http://schemas.microsoft.com/office/drawing/2014/main" id="{7460EB95-7A68-067E-5FCA-F4CF0F0635A3}"/>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478345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515410"/>
            <a:ext cx="2466363"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2"/>
            <a:endParaRPr lang="en-US"/>
          </a:p>
        </p:txBody>
      </p:sp>
      <p:sp>
        <p:nvSpPr>
          <p:cNvPr id="3" name="Text Placeholder 6">
            <a:extLst>
              <a:ext uri="{FF2B5EF4-FFF2-40B4-BE49-F238E27FC236}">
                <a16:creationId xmlns:a16="http://schemas.microsoft.com/office/drawing/2014/main" id="{FA06A373-7BE7-1ADF-5B8A-82161874D34B}"/>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04749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 name="Text Placeholder 6">
            <a:extLst>
              <a:ext uri="{FF2B5EF4-FFF2-40B4-BE49-F238E27FC236}">
                <a16:creationId xmlns:a16="http://schemas.microsoft.com/office/drawing/2014/main" id="{69199E03-7EE9-5995-AECD-66F9EBFEF77F}"/>
              </a:ext>
            </a:extLst>
          </p:cNvPr>
          <p:cNvSpPr>
            <a:spLocks noGrp="1"/>
          </p:cNvSpPr>
          <p:nvPr>
            <p:ph type="body" sz="quarter" idx="29"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418005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 name="Text Placeholder 6">
            <a:extLst>
              <a:ext uri="{FF2B5EF4-FFF2-40B4-BE49-F238E27FC236}">
                <a16:creationId xmlns:a16="http://schemas.microsoft.com/office/drawing/2014/main" id="{93850744-A982-85D8-464C-26EABD919D0A}"/>
              </a:ext>
            </a:extLst>
          </p:cNvPr>
          <p:cNvSpPr>
            <a:spLocks noGrp="1"/>
          </p:cNvSpPr>
          <p:nvPr>
            <p:ph type="body" sz="quarter" idx="16"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4358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20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3F26ABA6-5DC6-296B-81A3-64A2AA19CBF0}"/>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406711490"/>
      </p:ext>
    </p:extLst>
  </p:cSld>
  <p:clrMapOvr>
    <a:masterClrMapping/>
  </p:clrMapOvr>
  <p:extLst>
    <p:ext uri="{DCECCB84-F9BA-43D5-87BE-67443E8EF086}">
      <p15:sldGuideLst xmlns:p15="http://schemas.microsoft.com/office/powerpoint/2012/main">
        <p15:guide id="1" orient="horz" pos="2448"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3" name="Text Placeholder 6">
            <a:extLst>
              <a:ext uri="{FF2B5EF4-FFF2-40B4-BE49-F238E27FC236}">
                <a16:creationId xmlns:a16="http://schemas.microsoft.com/office/drawing/2014/main" id="{BE75233D-4317-8911-23E6-58A37FB601FB}"/>
              </a:ext>
            </a:extLst>
          </p:cNvPr>
          <p:cNvSpPr>
            <a:spLocks noGrp="1"/>
          </p:cNvSpPr>
          <p:nvPr>
            <p:ph type="body" sz="quarter" idx="16" hasCustomPrompt="1"/>
          </p:nvPr>
        </p:nvSpPr>
        <p:spPr>
          <a:xfrm>
            <a:off x="-1" y="6086160"/>
            <a:ext cx="12192000" cy="309838"/>
          </a:xfrm>
          <a:solidFill>
            <a:srgbClr val="DC202E"/>
          </a:solidFill>
        </p:spPr>
        <p:txBody>
          <a:bodyPr lIns="493776" tIns="45720" rIns="493776" bIns="45720" anchor="ctr" anchorCtr="0">
            <a:noAutofit/>
          </a:bodyPr>
          <a:lstStyle>
            <a:lvl1pPr algn="ctr">
              <a:lnSpc>
                <a:spcPct val="90000"/>
              </a:lnSpc>
              <a:spcAft>
                <a:spcPts val="0"/>
              </a:spcAft>
              <a:defRPr sz="16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33125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57755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59663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99993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43223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14136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66439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4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224717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71518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Tree>
    <p:extLst>
      <p:ext uri="{BB962C8B-B14F-4D97-AF65-F5344CB8AC3E}">
        <p14:creationId xmlns:p14="http://schemas.microsoft.com/office/powerpoint/2010/main" val="3971117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428631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15408"/>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21540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5FB1A56D-FD9B-5DC6-E465-32AB455A8DC6}"/>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174024505"/>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3460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144475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62579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337981" y="495300"/>
            <a:ext cx="6096000" cy="1495346"/>
          </a:xfrm>
          <a:prstGeom prst="rect">
            <a:avLst/>
          </a:prstGeom>
        </p:spPr>
        <p:txBody>
          <a:bodyPr lIns="0" tIns="0" rIns="0" bIns="0">
            <a:spAutoFit/>
          </a:bodyPr>
          <a:lstStyle/>
          <a:p>
            <a:pPr>
              <a:lnSpc>
                <a:spcPct val="80000"/>
              </a:lnSpc>
            </a:pPr>
            <a:r>
              <a:rPr kumimoji="0" lang="en-US" sz="6000" b="0" i="0" u="none" strike="noStrike" kern="1200" cap="all" spc="-300" normalizeH="0" baseline="0" noProof="0">
                <a:ln>
                  <a:noFill/>
                </a:ln>
                <a:solidFill>
                  <a:schemeClr val="bg1"/>
                </a:solidFill>
                <a:effectLst/>
                <a:uLnTx/>
                <a:uFillTx/>
                <a:latin typeface="+mj-lt"/>
                <a:ea typeface="+mj-ea"/>
                <a:cs typeface="+mj-cs"/>
              </a:rPr>
              <a:t>THANK</a:t>
            </a:r>
            <a:br>
              <a:rPr kumimoji="0" lang="en-US" sz="6000" b="0" i="0" u="none" strike="noStrike" kern="1200" cap="all" spc="-300" normalizeH="0" baseline="0" noProof="0">
                <a:ln>
                  <a:noFill/>
                </a:ln>
                <a:solidFill>
                  <a:schemeClr val="bg1"/>
                </a:solidFill>
                <a:effectLst/>
                <a:uLnTx/>
                <a:uFillTx/>
                <a:latin typeface="+mj-lt"/>
                <a:ea typeface="+mj-ea"/>
                <a:cs typeface="+mj-cs"/>
              </a:rPr>
            </a:br>
            <a:r>
              <a:rPr kumimoji="0" lang="en-US" sz="6000" b="0" i="0" u="none" strike="noStrike" kern="1200" cap="all" spc="-300" normalizeH="0" baseline="0" noProof="0">
                <a:ln>
                  <a:noFill/>
                </a:ln>
                <a:solidFill>
                  <a:schemeClr val="bg1"/>
                </a:solidFill>
                <a:effectLst/>
                <a:uLnTx/>
                <a:uFillTx/>
                <a:latin typeface="+mj-lt"/>
                <a:ea typeface="+mj-ea"/>
                <a:cs typeface="+mj-cs"/>
              </a:rPr>
              <a:t>YOU</a:t>
            </a:r>
            <a:endParaRPr lang="en-US" sz="6000" spc="-300">
              <a:solidFill>
                <a:schemeClr val="bg1"/>
              </a:solidFill>
              <a:latin typeface="+mj-lt"/>
            </a:endParaRPr>
          </a:p>
        </p:txBody>
      </p:sp>
      <p:pic>
        <p:nvPicPr>
          <p:cNvPr id="5" name="Graphic 4">
            <a:extLst>
              <a:ext uri="{FF2B5EF4-FFF2-40B4-BE49-F238E27FC236}">
                <a16:creationId xmlns:a16="http://schemas.microsoft.com/office/drawing/2014/main" id="{791EEC3B-5E82-A314-8971-402ABABF9C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213303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592">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2_Section_Title_Gre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745DEEE-311E-B146-85E2-1B359581A01C}"/>
              </a:ext>
            </a:extLst>
          </p:cNvPr>
          <p:cNvSpPr/>
          <p:nvPr userDrawn="1"/>
        </p:nvSpPr>
        <p:spPr>
          <a:xfrm>
            <a:off x="1236" y="0"/>
            <a:ext cx="12190764" cy="6858000"/>
          </a:xfrm>
          <a:prstGeom prst="rect">
            <a:avLst/>
          </a:prstGeom>
          <a:gradFill>
            <a:gsLst>
              <a:gs pos="63000">
                <a:srgbClr val="45444B"/>
              </a:gs>
              <a:gs pos="1000">
                <a:srgbClr val="39383E">
                  <a:lumMod val="93000"/>
                </a:srgbClr>
              </a:gs>
              <a:gs pos="100000">
                <a:srgbClr val="504F5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A7CDECFA-B1FC-0543-8342-F7CB51FA0A14}"/>
              </a:ext>
            </a:extLst>
          </p:cNvPr>
          <p:cNvPicPr>
            <a:picLocks noChangeAspect="1"/>
          </p:cNvPicPr>
          <p:nvPr userDrawn="1"/>
        </p:nvPicPr>
        <p:blipFill>
          <a:blip r:embed="rId2"/>
          <a:stretch>
            <a:fillRect/>
          </a:stretch>
        </p:blipFill>
        <p:spPr>
          <a:xfrm>
            <a:off x="10818968" y="6303408"/>
            <a:ext cx="933949" cy="171224"/>
          </a:xfrm>
          <a:prstGeom prst="rect">
            <a:avLst/>
          </a:prstGeom>
        </p:spPr>
      </p:pic>
      <p:sp>
        <p:nvSpPr>
          <p:cNvPr id="2" name="Text Placeholder 10">
            <a:extLst>
              <a:ext uri="{FF2B5EF4-FFF2-40B4-BE49-F238E27FC236}">
                <a16:creationId xmlns:a16="http://schemas.microsoft.com/office/drawing/2014/main" id="{90A50919-59AB-AAF6-3719-DD13E2A4D8AC}"/>
              </a:ext>
            </a:extLst>
          </p:cNvPr>
          <p:cNvSpPr>
            <a:spLocks noGrp="1"/>
          </p:cNvSpPr>
          <p:nvPr>
            <p:ph type="body" sz="quarter" idx="15" hasCustomPrompt="1"/>
          </p:nvPr>
        </p:nvSpPr>
        <p:spPr>
          <a:xfrm>
            <a:off x="649288" y="1809750"/>
            <a:ext cx="5446712" cy="1619250"/>
          </a:xfrm>
        </p:spPr>
        <p:txBody>
          <a:bodyPr anchor="t" anchorCtr="0"/>
          <a:lstStyle>
            <a:lvl1pPr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lvl="0"/>
            <a:r>
              <a:rPr lang="en-US"/>
              <a:t>CLICK TO EDIT MASTER TITLE STYLE</a:t>
            </a:r>
          </a:p>
        </p:txBody>
      </p:sp>
      <p:sp>
        <p:nvSpPr>
          <p:cNvPr id="3" name="Rectangle 2">
            <a:extLst>
              <a:ext uri="{FF2B5EF4-FFF2-40B4-BE49-F238E27FC236}">
                <a16:creationId xmlns:a16="http://schemas.microsoft.com/office/drawing/2014/main" id="{E2760BD5-2E59-FFD0-8C60-CB4A80D7051A}"/>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3 by Honeywell International Inc. All rights reserved. </a:t>
            </a:r>
          </a:p>
        </p:txBody>
      </p:sp>
    </p:spTree>
    <p:extLst>
      <p:ext uri="{BB962C8B-B14F-4D97-AF65-F5344CB8AC3E}">
        <p14:creationId xmlns:p14="http://schemas.microsoft.com/office/powerpoint/2010/main" val="73737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Title and 3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4" name="Content Placeholder 2">
            <a:extLst>
              <a:ext uri="{FF2B5EF4-FFF2-40B4-BE49-F238E27FC236}">
                <a16:creationId xmlns:a16="http://schemas.microsoft.com/office/drawing/2014/main" id="{DE708FB4-25D8-5319-DC13-41FF278EA3FB}"/>
              </a:ext>
            </a:extLst>
          </p:cNvPr>
          <p:cNvSpPr>
            <a:spLocks noGrp="1"/>
          </p:cNvSpPr>
          <p:nvPr>
            <p:ph idx="1"/>
          </p:nvPr>
        </p:nvSpPr>
        <p:spPr>
          <a:xfrm>
            <a:off x="650875" y="1809750"/>
            <a:ext cx="342900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E3CD8C11-85E5-CAF3-8BB1-064480BAC07A}"/>
              </a:ext>
            </a:extLst>
          </p:cNvPr>
          <p:cNvSpPr>
            <a:spLocks noGrp="1"/>
          </p:cNvSpPr>
          <p:nvPr>
            <p:ph idx="13"/>
          </p:nvPr>
        </p:nvSpPr>
        <p:spPr>
          <a:xfrm>
            <a:off x="4381534" y="1809750"/>
            <a:ext cx="342900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36D0F0BE-6603-9A86-E19C-6E4EE74D28A2}"/>
              </a:ext>
            </a:extLst>
          </p:cNvPr>
          <p:cNvSpPr>
            <a:spLocks noGrp="1"/>
          </p:cNvSpPr>
          <p:nvPr>
            <p:ph idx="14"/>
          </p:nvPr>
        </p:nvSpPr>
        <p:spPr>
          <a:xfrm>
            <a:off x="8112124" y="1809750"/>
            <a:ext cx="342900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752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7_Cover Building_1 red logo ext tit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A74AF780-9DA8-CD87-3030-3AB04C1A0333}"/>
              </a:ext>
            </a:extLst>
          </p:cNvPr>
          <p:cNvSpPr>
            <a:spLocks noGrp="1"/>
          </p:cNvSpPr>
          <p:nvPr>
            <p:ph type="body" sz="quarter" idx="15" hasCustomPrompt="1"/>
          </p:nvPr>
        </p:nvSpPr>
        <p:spPr>
          <a:xfrm>
            <a:off x="649288" y="1395706"/>
            <a:ext cx="9899766" cy="917781"/>
          </a:xfrm>
        </p:spPr>
        <p:txBody>
          <a:bodyPr anchor="b" anchorCtr="0"/>
          <a:lstStyle>
            <a:lvl1pPr algn="l" defTabSz="914400" rtl="0" eaLnBrk="1" latinLnBrk="0" hangingPunct="1">
              <a:lnSpc>
                <a:spcPts val="2600"/>
              </a:lnSpc>
              <a:spcBef>
                <a:spcPct val="0"/>
              </a:spcBef>
              <a:buNone/>
              <a:defRPr lang="en-US" sz="3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marL="0" marR="0" lvl="0" indent="0" algn="l" defTabSz="914400" rtl="0" eaLnBrk="1" fontAlgn="auto" latinLnBrk="0" hangingPunct="1">
              <a:lnSpc>
                <a:spcPts val="3040"/>
              </a:lnSpc>
              <a:spcBef>
                <a:spcPct val="0"/>
              </a:spcBef>
              <a:spcAft>
                <a:spcPts val="0"/>
              </a:spcAft>
              <a:buClrTx/>
              <a:buSzTx/>
              <a:buFontTx/>
              <a:buNone/>
              <a:tabLst/>
              <a:defRPr/>
            </a:pPr>
            <a:r>
              <a:rPr lang="en-US"/>
              <a:t>CLICK TO EDIT MASTER TITLE STYLE</a:t>
            </a:r>
          </a:p>
          <a:p>
            <a:pPr lvl="0"/>
            <a:r>
              <a:rPr lang="en-US"/>
              <a:t>DIT MASTER TITLE STYLE</a:t>
            </a:r>
          </a:p>
        </p:txBody>
      </p:sp>
      <p:pic>
        <p:nvPicPr>
          <p:cNvPr id="10" name="Picture 9">
            <a:extLst>
              <a:ext uri="{FF2B5EF4-FFF2-40B4-BE49-F238E27FC236}">
                <a16:creationId xmlns:a16="http://schemas.microsoft.com/office/drawing/2014/main" id="{A55F3AEF-C1C5-F24A-956A-DDC66039DDC0}"/>
              </a:ext>
            </a:extLst>
          </p:cNvPr>
          <p:cNvPicPr>
            <a:picLocks noChangeAspect="1"/>
          </p:cNvPicPr>
          <p:nvPr userDrawn="1"/>
        </p:nvPicPr>
        <p:blipFill>
          <a:blip r:embed="rId2"/>
          <a:stretch>
            <a:fillRect/>
          </a:stretch>
        </p:blipFill>
        <p:spPr>
          <a:xfrm>
            <a:off x="10140878" y="6236163"/>
            <a:ext cx="1400247" cy="256712"/>
          </a:xfrm>
          <a:prstGeom prst="rect">
            <a:avLst/>
          </a:prstGeom>
        </p:spPr>
      </p:pic>
      <p:sp>
        <p:nvSpPr>
          <p:cNvPr id="2" name="Rectangle 1">
            <a:extLst>
              <a:ext uri="{FF2B5EF4-FFF2-40B4-BE49-F238E27FC236}">
                <a16:creationId xmlns:a16="http://schemas.microsoft.com/office/drawing/2014/main" id="{30308ADE-99FB-A539-587D-88FCC7BC3750}"/>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3 by Honeywell International Inc. All rights reserved. </a:t>
            </a:r>
          </a:p>
        </p:txBody>
      </p:sp>
      <p:sp>
        <p:nvSpPr>
          <p:cNvPr id="5" name="Text Placeholder 19">
            <a:extLst>
              <a:ext uri="{FF2B5EF4-FFF2-40B4-BE49-F238E27FC236}">
                <a16:creationId xmlns:a16="http://schemas.microsoft.com/office/drawing/2014/main" id="{45CC45E3-67BC-1D08-E889-0FDBC8E292A6}"/>
              </a:ext>
            </a:extLst>
          </p:cNvPr>
          <p:cNvSpPr>
            <a:spLocks noGrp="1"/>
          </p:cNvSpPr>
          <p:nvPr>
            <p:ph type="body" sz="quarter" idx="13" hasCustomPrompt="1"/>
          </p:nvPr>
        </p:nvSpPr>
        <p:spPr>
          <a:xfrm>
            <a:off x="650875" y="2743245"/>
            <a:ext cx="6366754" cy="357226"/>
          </a:xfrm>
        </p:spPr>
        <p:txBody>
          <a:bodyPr>
            <a:noAutofit/>
          </a:bodyPr>
          <a:lstStyle>
            <a:lvl1pPr marL="0" indent="0">
              <a:buFontTx/>
              <a:buNone/>
              <a:defRPr sz="1600" b="1" i="0">
                <a:solidFill>
                  <a:schemeClr val="bg1"/>
                </a:solidFill>
                <a:latin typeface="Arial Black" panose="020B0604020202020204" pitchFamily="34" charset="0"/>
                <a:cs typeface="Arial Black"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PROJECT DETAILS OR NAME OF PRESENTER </a:t>
            </a:r>
          </a:p>
        </p:txBody>
      </p:sp>
      <p:sp>
        <p:nvSpPr>
          <p:cNvPr id="7" name="Text Placeholder 19">
            <a:extLst>
              <a:ext uri="{FF2B5EF4-FFF2-40B4-BE49-F238E27FC236}">
                <a16:creationId xmlns:a16="http://schemas.microsoft.com/office/drawing/2014/main" id="{1CFCB434-0390-D6C6-32D2-37C53D4825E8}"/>
              </a:ext>
            </a:extLst>
          </p:cNvPr>
          <p:cNvSpPr>
            <a:spLocks noGrp="1"/>
          </p:cNvSpPr>
          <p:nvPr>
            <p:ph type="body" sz="quarter" idx="14" hasCustomPrompt="1"/>
          </p:nvPr>
        </p:nvSpPr>
        <p:spPr>
          <a:xfrm>
            <a:off x="650875" y="3044716"/>
            <a:ext cx="6366754" cy="326956"/>
          </a:xfrm>
        </p:spPr>
        <p:txBody>
          <a:bodyPr/>
          <a:lstStyle>
            <a:lvl1pPr marL="0" indent="0">
              <a:buFontTx/>
              <a:buNone/>
              <a:defRPr sz="1600" b="0" i="0">
                <a:solidFill>
                  <a:schemeClr val="accent5"/>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ATE 00, 2023</a:t>
            </a:r>
          </a:p>
        </p:txBody>
      </p:sp>
      <p:sp>
        <p:nvSpPr>
          <p:cNvPr id="6" name="Picture Placeholder 3">
            <a:extLst>
              <a:ext uri="{FF2B5EF4-FFF2-40B4-BE49-F238E27FC236}">
                <a16:creationId xmlns:a16="http://schemas.microsoft.com/office/drawing/2014/main" id="{9ACCDF8B-F205-8AF3-6221-5B3EFF9D311D}"/>
              </a:ext>
            </a:extLst>
          </p:cNvPr>
          <p:cNvSpPr>
            <a:spLocks noGrp="1"/>
          </p:cNvSpPr>
          <p:nvPr>
            <p:ph type="pic" sz="quarter" idx="16"/>
          </p:nvPr>
        </p:nvSpPr>
        <p:spPr>
          <a:xfrm>
            <a:off x="-3" y="3790219"/>
            <a:ext cx="2030934" cy="2038349"/>
          </a:xfrm>
        </p:spPr>
      </p:sp>
      <p:sp>
        <p:nvSpPr>
          <p:cNvPr id="8" name="Picture Placeholder 5">
            <a:extLst>
              <a:ext uri="{FF2B5EF4-FFF2-40B4-BE49-F238E27FC236}">
                <a16:creationId xmlns:a16="http://schemas.microsoft.com/office/drawing/2014/main" id="{BD351BD0-0315-13C5-F21C-4DDF5EDF5977}"/>
              </a:ext>
            </a:extLst>
          </p:cNvPr>
          <p:cNvSpPr>
            <a:spLocks noGrp="1"/>
          </p:cNvSpPr>
          <p:nvPr>
            <p:ph type="pic" sz="quarter" idx="17"/>
          </p:nvPr>
        </p:nvSpPr>
        <p:spPr>
          <a:xfrm>
            <a:off x="2030931" y="3790217"/>
            <a:ext cx="2030934" cy="2038349"/>
          </a:xfrm>
        </p:spPr>
      </p:sp>
      <p:sp>
        <p:nvSpPr>
          <p:cNvPr id="9" name="Picture Placeholder 7">
            <a:extLst>
              <a:ext uri="{FF2B5EF4-FFF2-40B4-BE49-F238E27FC236}">
                <a16:creationId xmlns:a16="http://schemas.microsoft.com/office/drawing/2014/main" id="{F01D90B7-D5C7-1A98-EC4C-692A518F8EC3}"/>
              </a:ext>
            </a:extLst>
          </p:cNvPr>
          <p:cNvSpPr>
            <a:spLocks noGrp="1"/>
          </p:cNvSpPr>
          <p:nvPr>
            <p:ph type="pic" sz="quarter" idx="18"/>
          </p:nvPr>
        </p:nvSpPr>
        <p:spPr>
          <a:xfrm>
            <a:off x="4061862" y="3790213"/>
            <a:ext cx="2030934" cy="2038349"/>
          </a:xfrm>
        </p:spPr>
      </p:sp>
      <p:sp>
        <p:nvSpPr>
          <p:cNvPr id="13" name="Picture Placeholder 9">
            <a:extLst>
              <a:ext uri="{FF2B5EF4-FFF2-40B4-BE49-F238E27FC236}">
                <a16:creationId xmlns:a16="http://schemas.microsoft.com/office/drawing/2014/main" id="{1634C219-983F-33F4-3ABF-8A7B5728800F}"/>
              </a:ext>
            </a:extLst>
          </p:cNvPr>
          <p:cNvSpPr>
            <a:spLocks noGrp="1"/>
          </p:cNvSpPr>
          <p:nvPr>
            <p:ph type="pic" sz="quarter" idx="19"/>
          </p:nvPr>
        </p:nvSpPr>
        <p:spPr>
          <a:xfrm>
            <a:off x="6092796" y="3790211"/>
            <a:ext cx="2030934" cy="2038349"/>
          </a:xfrm>
        </p:spPr>
      </p:sp>
      <p:sp>
        <p:nvSpPr>
          <p:cNvPr id="14" name="Picture Placeholder 11">
            <a:extLst>
              <a:ext uri="{FF2B5EF4-FFF2-40B4-BE49-F238E27FC236}">
                <a16:creationId xmlns:a16="http://schemas.microsoft.com/office/drawing/2014/main" id="{B854B226-B7B2-ABB6-F890-DEC10B44DB2E}"/>
              </a:ext>
            </a:extLst>
          </p:cNvPr>
          <p:cNvSpPr>
            <a:spLocks noGrp="1"/>
          </p:cNvSpPr>
          <p:nvPr>
            <p:ph type="pic" sz="quarter" idx="20"/>
          </p:nvPr>
        </p:nvSpPr>
        <p:spPr>
          <a:xfrm>
            <a:off x="8130137" y="3790213"/>
            <a:ext cx="2030934" cy="2038349"/>
          </a:xfrm>
        </p:spPr>
      </p:sp>
      <p:sp>
        <p:nvSpPr>
          <p:cNvPr id="15" name="Picture Placeholder 14">
            <a:extLst>
              <a:ext uri="{FF2B5EF4-FFF2-40B4-BE49-F238E27FC236}">
                <a16:creationId xmlns:a16="http://schemas.microsoft.com/office/drawing/2014/main" id="{656F19CD-E6F1-1117-5BFF-8149D57F7787}"/>
              </a:ext>
            </a:extLst>
          </p:cNvPr>
          <p:cNvSpPr>
            <a:spLocks noGrp="1"/>
          </p:cNvSpPr>
          <p:nvPr>
            <p:ph type="pic" sz="quarter" idx="21"/>
          </p:nvPr>
        </p:nvSpPr>
        <p:spPr>
          <a:xfrm>
            <a:off x="10161071" y="3790211"/>
            <a:ext cx="2030934" cy="2038349"/>
          </a:xfrm>
        </p:spPr>
      </p:sp>
    </p:spTree>
    <p:extLst>
      <p:ext uri="{BB962C8B-B14F-4D97-AF65-F5344CB8AC3E}">
        <p14:creationId xmlns:p14="http://schemas.microsoft.com/office/powerpoint/2010/main" val="155192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384">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_Pag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05E726-88B6-F69B-CAE1-624D6D003B7E}"/>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215266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Blank_Pag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82A2130-94FF-A242-B896-6D0038420441}"/>
              </a:ext>
            </a:extLst>
          </p:cNvPr>
          <p:cNvSpPr>
            <a:spLocks noGrp="1"/>
          </p:cNvSpPr>
          <p:nvPr>
            <p:ph type="title" hasCustomPrompt="1"/>
          </p:nvPr>
        </p:nvSpPr>
        <p:spPr>
          <a:xfrm>
            <a:off x="681701" y="582723"/>
            <a:ext cx="10515600" cy="491222"/>
          </a:xfrm>
          <a:prstGeom prst="rect">
            <a:avLst/>
          </a:prstGeom>
        </p:spPr>
        <p:txBody>
          <a:bodyPr vert="horz" lIns="91440" tIns="45720" rIns="91440" bIns="45720" rtlCol="0" anchor="t">
            <a:noAutofit/>
          </a:bodyPr>
          <a:lstStyle>
            <a:lvl1pPr>
              <a:lnSpc>
                <a:spcPts val="2940"/>
              </a:lnSpc>
              <a:defRPr sz="3000"/>
            </a:lvl1pPr>
          </a:lstStyle>
          <a:p>
            <a:r>
              <a:rPr lang="en-US"/>
              <a:t>AGENDA</a:t>
            </a:r>
          </a:p>
        </p:txBody>
      </p:sp>
      <p:sp>
        <p:nvSpPr>
          <p:cNvPr id="2" name="Slide Number Placeholder 5">
            <a:extLst>
              <a:ext uri="{FF2B5EF4-FFF2-40B4-BE49-F238E27FC236}">
                <a16:creationId xmlns:a16="http://schemas.microsoft.com/office/drawing/2014/main" id="{B0B0571A-9894-FD8A-F2A1-1E0EBDE39AB8}"/>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382018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8_Title, Subhead, Body Headline - Blk,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62713B1-11F7-A9B6-75B6-676AAEC8AD54}"/>
              </a:ext>
            </a:extLst>
          </p:cNvPr>
          <p:cNvSpPr>
            <a:spLocks noGrp="1"/>
          </p:cNvSpPr>
          <p:nvPr>
            <p:ph type="body" sz="quarter" idx="11"/>
          </p:nvPr>
        </p:nvSpPr>
        <p:spPr>
          <a:xfrm>
            <a:off x="650875" y="2476788"/>
            <a:ext cx="6547367" cy="3211225"/>
          </a:xfrm>
        </p:spPr>
        <p:txBody>
          <a:bodyPr/>
          <a:lstStyle>
            <a:lvl1pPr>
              <a:defRPr sz="16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D265937-F350-AA4B-70D5-CF2FFDE4E3AD}"/>
              </a:ext>
            </a:extLst>
          </p:cNvPr>
          <p:cNvSpPr>
            <a:spLocks noGrp="1"/>
          </p:cNvSpPr>
          <p:nvPr>
            <p:ph type="body" sz="quarter" idx="13" hasCustomPrompt="1"/>
          </p:nvPr>
        </p:nvSpPr>
        <p:spPr>
          <a:xfrm>
            <a:off x="650876" y="1930299"/>
            <a:ext cx="4094380" cy="506413"/>
          </a:xfrm>
        </p:spPr>
        <p:txBody>
          <a:bodyPr/>
          <a:lstStyle>
            <a:lvl1pPr>
              <a:defRPr sz="1600" b="1">
                <a:solidFill>
                  <a:schemeClr val="tx1"/>
                </a:solidFill>
              </a:defRPr>
            </a:lvl1pPr>
          </a:lstStyle>
          <a:p>
            <a:pPr lvl="0"/>
            <a:r>
              <a:rPr lang="en-US"/>
              <a:t>HEADLINE HERE ALL CAPS – UP TO TWO LINES OF TEXT</a:t>
            </a:r>
          </a:p>
        </p:txBody>
      </p:sp>
      <p:sp>
        <p:nvSpPr>
          <p:cNvPr id="4" name="Text Placeholder 5">
            <a:extLst>
              <a:ext uri="{FF2B5EF4-FFF2-40B4-BE49-F238E27FC236}">
                <a16:creationId xmlns:a16="http://schemas.microsoft.com/office/drawing/2014/main" id="{1770A6A9-2509-15A4-1629-485819DFB1C0}"/>
              </a:ext>
            </a:extLst>
          </p:cNvPr>
          <p:cNvSpPr>
            <a:spLocks noGrp="1"/>
          </p:cNvSpPr>
          <p:nvPr>
            <p:ph type="body" sz="quarter" idx="12"/>
          </p:nvPr>
        </p:nvSpPr>
        <p:spPr>
          <a:xfrm>
            <a:off x="649288" y="918729"/>
            <a:ext cx="10891837" cy="372325"/>
          </a:xfrm>
        </p:spPr>
        <p:txBody>
          <a:bodyPr/>
          <a:lstStyle>
            <a:lvl1pPr>
              <a:defRPr sz="1600">
                <a:solidFill>
                  <a:schemeClr val="accent4"/>
                </a:solidFill>
              </a:defRPr>
            </a:lvl1pPr>
          </a:lstStyle>
          <a:p>
            <a:pPr lvl="0"/>
            <a:r>
              <a:rPr lang="en-US"/>
              <a:t>Click to edit Master text styles</a:t>
            </a:r>
          </a:p>
        </p:txBody>
      </p:sp>
      <p:sp>
        <p:nvSpPr>
          <p:cNvPr id="6" name="Title 1">
            <a:extLst>
              <a:ext uri="{FF2B5EF4-FFF2-40B4-BE49-F238E27FC236}">
                <a16:creationId xmlns:a16="http://schemas.microsoft.com/office/drawing/2014/main" id="{63052F83-7F68-FC24-B55C-DBD9E93DDA7A}"/>
              </a:ext>
            </a:extLst>
          </p:cNvPr>
          <p:cNvSpPr>
            <a:spLocks noGrp="1"/>
          </p:cNvSpPr>
          <p:nvPr>
            <p:ph type="title" hasCustomPrompt="1"/>
          </p:nvPr>
        </p:nvSpPr>
        <p:spPr>
          <a:xfrm>
            <a:off x="649316" y="605123"/>
            <a:ext cx="10891808" cy="427041"/>
          </a:xfrm>
        </p:spPr>
        <p:txBody>
          <a:bodyPr/>
          <a:lstStyle/>
          <a:p>
            <a:r>
              <a:rPr lang="en-US"/>
              <a:t>CLICK TO EDIT MASTER TITLE STYLE</a:t>
            </a:r>
          </a:p>
        </p:txBody>
      </p:sp>
      <p:sp>
        <p:nvSpPr>
          <p:cNvPr id="2" name="Slide Number Placeholder 5">
            <a:extLst>
              <a:ext uri="{FF2B5EF4-FFF2-40B4-BE49-F238E27FC236}">
                <a16:creationId xmlns:a16="http://schemas.microsoft.com/office/drawing/2014/main" id="{94509A14-3F99-2E87-26E3-B4E4698762FA}"/>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51624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36">
          <p15:clr>
            <a:srgbClr val="FBAE40"/>
          </p15:clr>
        </p15:guide>
        <p15:guide id="2" orient="horz" pos="103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515410"/>
            <a:ext cx="2466363"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2"/>
            <a:endParaRPr lang="en-US"/>
          </a:p>
        </p:txBody>
      </p:sp>
      <p:sp>
        <p:nvSpPr>
          <p:cNvPr id="2" name="Text Placeholder 6">
            <a:extLst>
              <a:ext uri="{FF2B5EF4-FFF2-40B4-BE49-F238E27FC236}">
                <a16:creationId xmlns:a16="http://schemas.microsoft.com/office/drawing/2014/main" id="{71C2E6ED-F294-9B2C-99B8-06AE195F4445}"/>
              </a:ext>
            </a:extLst>
          </p:cNvPr>
          <p:cNvSpPr>
            <a:spLocks noGrp="1"/>
          </p:cNvSpPr>
          <p:nvPr>
            <p:ph type="body" sz="quarter" idx="25"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880525616"/>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5" name="Text Placeholder 4">
            <a:extLst>
              <a:ext uri="{FF2B5EF4-FFF2-40B4-BE49-F238E27FC236}">
                <a16:creationId xmlns:a16="http://schemas.microsoft.com/office/drawing/2014/main" id="{762713B1-11F7-A9B6-75B6-676AAEC8AD54}"/>
              </a:ext>
            </a:extLst>
          </p:cNvPr>
          <p:cNvSpPr>
            <a:spLocks noGrp="1"/>
          </p:cNvSpPr>
          <p:nvPr>
            <p:ph type="body" sz="quarter" idx="11"/>
          </p:nvPr>
        </p:nvSpPr>
        <p:spPr>
          <a:xfrm>
            <a:off x="650875" y="1809750"/>
            <a:ext cx="1089025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44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Gray Gradient Section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7164EA-1A6A-706C-5182-9876B3482D87}"/>
              </a:ext>
            </a:extLst>
          </p:cNvPr>
          <p:cNvSpPr/>
          <p:nvPr userDrawn="1"/>
        </p:nvSpPr>
        <p:spPr>
          <a:xfrm>
            <a:off x="0" y="0"/>
            <a:ext cx="12190764" cy="6858000"/>
          </a:xfrm>
          <a:prstGeom prst="rect">
            <a:avLst/>
          </a:prstGeom>
          <a:gradFill>
            <a:gsLst>
              <a:gs pos="63000">
                <a:srgbClr val="45444B"/>
              </a:gs>
              <a:gs pos="1000">
                <a:srgbClr val="39383E">
                  <a:lumMod val="93000"/>
                </a:srgbClr>
              </a:gs>
              <a:gs pos="100000">
                <a:srgbClr val="504F5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Text, logo&#10;&#10;Description automatically generated">
            <a:extLst>
              <a:ext uri="{FF2B5EF4-FFF2-40B4-BE49-F238E27FC236}">
                <a16:creationId xmlns:a16="http://schemas.microsoft.com/office/drawing/2014/main" id="{467A48EC-9F27-A331-1A9D-F820E0F882F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50875" y="569901"/>
            <a:ext cx="1576038" cy="914400"/>
          </a:xfrm>
          <a:prstGeom prst="rect">
            <a:avLst/>
          </a:prstGeom>
        </p:spPr>
      </p:pic>
      <p:sp>
        <p:nvSpPr>
          <p:cNvPr id="11" name="Text Placeholder 10">
            <a:extLst>
              <a:ext uri="{FF2B5EF4-FFF2-40B4-BE49-F238E27FC236}">
                <a16:creationId xmlns:a16="http://schemas.microsoft.com/office/drawing/2014/main" id="{A74AF780-9DA8-CD87-3030-3AB04C1A0333}"/>
              </a:ext>
            </a:extLst>
          </p:cNvPr>
          <p:cNvSpPr>
            <a:spLocks noGrp="1"/>
          </p:cNvSpPr>
          <p:nvPr>
            <p:ph type="body" sz="quarter" idx="15" hasCustomPrompt="1"/>
          </p:nvPr>
        </p:nvSpPr>
        <p:spPr>
          <a:xfrm>
            <a:off x="649288" y="1990724"/>
            <a:ext cx="9491590" cy="2886076"/>
          </a:xfrm>
        </p:spPr>
        <p:txBody>
          <a:bodyPr anchor="ctr" anchorCtr="0"/>
          <a:lstStyle>
            <a:lvl1pPr algn="l" defTabSz="914400" rtl="0" eaLnBrk="1" latinLnBrk="0" hangingPunct="1">
              <a:lnSpc>
                <a:spcPts val="5000"/>
              </a:lnSpc>
              <a:spcBef>
                <a:spcPct val="0"/>
              </a:spcBef>
              <a:buNone/>
              <a:defRPr lang="en-US" sz="6000" b="1" i="0" kern="1200" spc="-150" dirty="0" smtClean="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lvl="0"/>
            <a:r>
              <a:rPr lang="en-US"/>
              <a:t>CLICK TO EDIT MASTER TITLE STYLE</a:t>
            </a:r>
          </a:p>
        </p:txBody>
      </p:sp>
      <p:pic>
        <p:nvPicPr>
          <p:cNvPr id="10" name="Picture 9">
            <a:extLst>
              <a:ext uri="{FF2B5EF4-FFF2-40B4-BE49-F238E27FC236}">
                <a16:creationId xmlns:a16="http://schemas.microsoft.com/office/drawing/2014/main" id="{A55F3AEF-C1C5-F24A-956A-DDC66039DDC0}"/>
              </a:ext>
            </a:extLst>
          </p:cNvPr>
          <p:cNvPicPr>
            <a:picLocks noChangeAspect="1"/>
          </p:cNvPicPr>
          <p:nvPr userDrawn="1"/>
        </p:nvPicPr>
        <p:blipFill>
          <a:blip r:embed="rId3"/>
          <a:stretch>
            <a:fillRect/>
          </a:stretch>
        </p:blipFill>
        <p:spPr>
          <a:xfrm>
            <a:off x="10140878" y="6236163"/>
            <a:ext cx="1400247" cy="256712"/>
          </a:xfrm>
          <a:prstGeom prst="rect">
            <a:avLst/>
          </a:prstGeom>
        </p:spPr>
      </p:pic>
      <p:sp>
        <p:nvSpPr>
          <p:cNvPr id="2" name="Rectangle 1">
            <a:extLst>
              <a:ext uri="{FF2B5EF4-FFF2-40B4-BE49-F238E27FC236}">
                <a16:creationId xmlns:a16="http://schemas.microsoft.com/office/drawing/2014/main" id="{30308ADE-99FB-A539-587D-88FCC7BC3750}"/>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4 by Honeywell International Inc. All rights reserved. </a:t>
            </a:r>
          </a:p>
        </p:txBody>
      </p:sp>
    </p:spTree>
    <p:extLst>
      <p:ext uri="{BB962C8B-B14F-4D97-AF65-F5344CB8AC3E}">
        <p14:creationId xmlns:p14="http://schemas.microsoft.com/office/powerpoint/2010/main" val="2953325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83CF89B-CF3F-BE41-90F6-CD93581AD65D}"/>
              </a:ext>
            </a:extLst>
          </p:cNvPr>
          <p:cNvSpPr>
            <a:spLocks noGrp="1"/>
          </p:cNvSpPr>
          <p:nvPr>
            <p:ph type="title" hasCustomPrompt="1"/>
          </p:nvPr>
        </p:nvSpPr>
        <p:spPr>
          <a:xfrm>
            <a:off x="687725" y="365126"/>
            <a:ext cx="10515600" cy="47103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sz="3200" b="1" i="0">
                <a:latin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SLIDE TITLE</a:t>
            </a:r>
            <a:br>
              <a:rPr lang="en-US" sz="800" b="0">
                <a:solidFill>
                  <a:srgbClr val="FF0000"/>
                </a:solidFill>
                <a:latin typeface="Honeywell Sans TT" panose="02010503040101060203" pitchFamily="2" charset="77"/>
              </a:rPr>
            </a:br>
            <a:endParaRPr lang="en-US"/>
          </a:p>
        </p:txBody>
      </p:sp>
      <p:sp>
        <p:nvSpPr>
          <p:cNvPr id="11" name="Text Placeholder 4">
            <a:extLst>
              <a:ext uri="{FF2B5EF4-FFF2-40B4-BE49-F238E27FC236}">
                <a16:creationId xmlns:a16="http://schemas.microsoft.com/office/drawing/2014/main" id="{2D5BF3B2-ABFD-0041-AE22-CD9C28B00408}"/>
              </a:ext>
            </a:extLst>
          </p:cNvPr>
          <p:cNvSpPr>
            <a:spLocks noGrp="1"/>
          </p:cNvSpPr>
          <p:nvPr>
            <p:ph type="body" sz="quarter" idx="28" hasCustomPrompt="1"/>
          </p:nvPr>
        </p:nvSpPr>
        <p:spPr>
          <a:xfrm>
            <a:off x="687725" y="843663"/>
            <a:ext cx="6386512" cy="317500"/>
          </a:xfrm>
          <a:prstGeom prst="rect">
            <a:avLst/>
          </a:prstGeom>
        </p:spPr>
        <p:txBody>
          <a:bodyPr/>
          <a:lstStyle>
            <a:lvl1pPr>
              <a:defRPr b="0" i="0">
                <a:ln>
                  <a:noFill/>
                </a:ln>
                <a:solidFill>
                  <a:srgbClr val="EE3023"/>
                </a:solidFill>
                <a:latin typeface="Arial" panose="020B0604020202020204" pitchFamily="34" charset="0"/>
                <a:cs typeface="Arial" panose="020B0604020202020204" pitchFamily="34" charset="0"/>
              </a:defRPr>
            </a:lvl1pPr>
          </a:lstStyle>
          <a:p>
            <a:pPr lvl="0"/>
            <a:r>
              <a:rPr lang="en-US"/>
              <a:t>Sub Header Copy (Optional)</a:t>
            </a:r>
          </a:p>
        </p:txBody>
      </p:sp>
    </p:spTree>
    <p:extLst>
      <p:ext uri="{BB962C8B-B14F-4D97-AF65-F5344CB8AC3E}">
        <p14:creationId xmlns:p14="http://schemas.microsoft.com/office/powerpoint/2010/main" val="166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3_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66032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C 29">
    <p:spTree>
      <p:nvGrpSpPr>
        <p:cNvPr id="1" name=""/>
        <p:cNvGrpSpPr/>
        <p:nvPr/>
      </p:nvGrpSpPr>
      <p:grpSpPr>
        <a:xfrm>
          <a:off x="0" y="0"/>
          <a:ext cx="0" cy="0"/>
          <a:chOff x="0" y="0"/>
          <a:chExt cx="0" cy="0"/>
        </a:xfrm>
      </p:grpSpPr>
      <p:sp>
        <p:nvSpPr>
          <p:cNvPr id="5" name="Text Placeholder 3"/>
          <p:cNvSpPr>
            <a:spLocks noGrp="1"/>
          </p:cNvSpPr>
          <p:nvPr>
            <p:ph type="body" sz="half" idx="2" hasCustomPrompt="1"/>
          </p:nvPr>
        </p:nvSpPr>
        <p:spPr>
          <a:xfrm>
            <a:off x="508001" y="1178427"/>
            <a:ext cx="11157817"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6" name="Title 2"/>
          <p:cNvSpPr>
            <a:spLocks noGrp="1"/>
          </p:cNvSpPr>
          <p:nvPr>
            <p:ph type="title"/>
          </p:nvPr>
        </p:nvSpPr>
        <p:spPr>
          <a:xfrm>
            <a:off x="508001" y="455085"/>
            <a:ext cx="11157817" cy="660511"/>
          </a:xfrm>
          <a:prstGeom prst="rect">
            <a:avLst/>
          </a:prstGeom>
        </p:spPr>
        <p:txBody>
          <a:bodyPr lIns="0" tIns="0" rIns="0" bIns="0" anchor="ctr"/>
          <a:lstStyle>
            <a:lvl1pPr algn="l">
              <a:defRPr sz="4800">
                <a:solidFill>
                  <a:schemeClr val="tx1">
                    <a:lumMod val="50000"/>
                    <a:lumOff val="50000"/>
                  </a:schemeClr>
                </a:solidFill>
              </a:defRPr>
            </a:lvl1pPr>
          </a:lstStyle>
          <a:p>
            <a:r>
              <a:rPr lang="en-US"/>
              <a:t>Click to edit Master title style</a:t>
            </a:r>
          </a:p>
        </p:txBody>
      </p:sp>
      <p:sp>
        <p:nvSpPr>
          <p:cNvPr id="13" name="Picture Placeholder 12"/>
          <p:cNvSpPr>
            <a:spLocks noGrp="1"/>
          </p:cNvSpPr>
          <p:nvPr>
            <p:ph type="pic" sz="quarter" idx="12" hasCustomPrompt="1"/>
          </p:nvPr>
        </p:nvSpPr>
        <p:spPr>
          <a:xfrm>
            <a:off x="6306909" y="1893303"/>
            <a:ext cx="4628824" cy="2609836"/>
          </a:xfrm>
          <a:custGeom>
            <a:avLst/>
            <a:gdLst>
              <a:gd name="connsiteX0" fmla="*/ 0 w 3471618"/>
              <a:gd name="connsiteY0" fmla="*/ 0 h 1957377"/>
              <a:gd name="connsiteX1" fmla="*/ 3471618 w 3471618"/>
              <a:gd name="connsiteY1" fmla="*/ 0 h 1957377"/>
              <a:gd name="connsiteX2" fmla="*/ 3471618 w 3471618"/>
              <a:gd name="connsiteY2" fmla="*/ 1957377 h 1957377"/>
              <a:gd name="connsiteX3" fmla="*/ 0 w 3471618"/>
              <a:gd name="connsiteY3" fmla="*/ 1957377 h 1957377"/>
            </a:gdLst>
            <a:ahLst/>
            <a:cxnLst>
              <a:cxn ang="0">
                <a:pos x="connsiteX0" y="connsiteY0"/>
              </a:cxn>
              <a:cxn ang="0">
                <a:pos x="connsiteX1" y="connsiteY1"/>
              </a:cxn>
              <a:cxn ang="0">
                <a:pos x="connsiteX2" y="connsiteY2"/>
              </a:cxn>
              <a:cxn ang="0">
                <a:pos x="connsiteX3" y="connsiteY3"/>
              </a:cxn>
            </a:cxnLst>
            <a:rect l="l" t="t" r="r" b="b"/>
            <a:pathLst>
              <a:path w="3471618" h="1957377">
                <a:moveTo>
                  <a:pt x="0" y="0"/>
                </a:moveTo>
                <a:lnTo>
                  <a:pt x="3471618" y="0"/>
                </a:lnTo>
                <a:lnTo>
                  <a:pt x="3471618" y="1957377"/>
                </a:lnTo>
                <a:lnTo>
                  <a:pt x="0" y="1957377"/>
                </a:lnTo>
                <a:close/>
              </a:path>
            </a:pathLst>
          </a:custGeom>
          <a:solidFill>
            <a:schemeClr val="bg1">
              <a:lumMod val="95000"/>
            </a:schemeClr>
          </a:solidFill>
          <a:ln w="19050">
            <a:noFill/>
          </a:ln>
        </p:spPr>
        <p:txBody>
          <a:bodyPr wrap="square" lIns="0" tIns="0" rIns="0" bIns="182880" anchor="b">
            <a:noAutofit/>
          </a:bodyPr>
          <a:lstStyle>
            <a:lvl1pPr algn="ctr" rtl="0">
              <a:buNone/>
              <a:defRPr sz="1867">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380069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C 38">
    <p:spTree>
      <p:nvGrpSpPr>
        <p:cNvPr id="1" name=""/>
        <p:cNvGrpSpPr/>
        <p:nvPr/>
      </p:nvGrpSpPr>
      <p:grpSpPr>
        <a:xfrm>
          <a:off x="0" y="0"/>
          <a:ext cx="0" cy="0"/>
          <a:chOff x="0" y="0"/>
          <a:chExt cx="0" cy="0"/>
        </a:xfrm>
      </p:grpSpPr>
      <p:sp>
        <p:nvSpPr>
          <p:cNvPr id="8" name="Text Placeholder 3"/>
          <p:cNvSpPr>
            <a:spLocks noGrp="1"/>
          </p:cNvSpPr>
          <p:nvPr>
            <p:ph type="body" sz="half" idx="2" hasCustomPrompt="1"/>
          </p:nvPr>
        </p:nvSpPr>
        <p:spPr>
          <a:xfrm>
            <a:off x="508001" y="1178427"/>
            <a:ext cx="11157817" cy="231007"/>
          </a:xfrm>
          <a:prstGeom prst="rect">
            <a:avLst/>
          </a:prstGeom>
        </p:spPr>
        <p:txBody>
          <a:bodyPr wrap="none" lIns="0" tIns="0" rIns="0" bIns="0" anchor="ctr">
            <a:noAutofit/>
          </a:bodyPr>
          <a:lstStyle>
            <a:lvl1pPr marL="0" indent="0" algn="ctr">
              <a:buNone/>
              <a:defRPr sz="1600" b="0" baseline="0">
                <a:solidFill>
                  <a:schemeClr val="bg1"/>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9" name="Title 2"/>
          <p:cNvSpPr>
            <a:spLocks noGrp="1"/>
          </p:cNvSpPr>
          <p:nvPr>
            <p:ph type="title"/>
          </p:nvPr>
        </p:nvSpPr>
        <p:spPr>
          <a:xfrm>
            <a:off x="508001" y="455085"/>
            <a:ext cx="11157817" cy="660511"/>
          </a:xfrm>
          <a:prstGeom prst="rect">
            <a:avLst/>
          </a:prstGeom>
        </p:spPr>
        <p:txBody>
          <a:bodyPr lIns="0" tIns="0" rIns="0" bIns="0" anchor="ctr"/>
          <a:lstStyle>
            <a:lvl1pPr algn="ctr">
              <a:defRPr sz="4800">
                <a:solidFill>
                  <a:schemeClr val="bg1"/>
                </a:solidFill>
              </a:defRPr>
            </a:lvl1pPr>
          </a:lstStyle>
          <a:p>
            <a:r>
              <a:rPr lang="en-US"/>
              <a:t>Click to edit Master title</a:t>
            </a:r>
          </a:p>
        </p:txBody>
      </p:sp>
      <p:sp>
        <p:nvSpPr>
          <p:cNvPr id="31" name="Picture Placeholder 30"/>
          <p:cNvSpPr>
            <a:spLocks noGrp="1"/>
          </p:cNvSpPr>
          <p:nvPr>
            <p:ph type="pic" sz="quarter" idx="13" hasCustomPrompt="1"/>
          </p:nvPr>
        </p:nvSpPr>
        <p:spPr>
          <a:xfrm>
            <a:off x="1611368" y="2132165"/>
            <a:ext cx="2598981" cy="1603348"/>
          </a:xfrm>
          <a:custGeom>
            <a:avLst/>
            <a:gdLst>
              <a:gd name="connsiteX0" fmla="*/ 0 w 1949236"/>
              <a:gd name="connsiteY0" fmla="*/ 0 h 1202511"/>
              <a:gd name="connsiteX1" fmla="*/ 1949236 w 1949236"/>
              <a:gd name="connsiteY1" fmla="*/ 0 h 1202511"/>
              <a:gd name="connsiteX2" fmla="*/ 1949236 w 1949236"/>
              <a:gd name="connsiteY2" fmla="*/ 1202511 h 1202511"/>
              <a:gd name="connsiteX3" fmla="*/ 0 w 1949236"/>
              <a:gd name="connsiteY3" fmla="*/ 1202511 h 1202511"/>
            </a:gdLst>
            <a:ahLst/>
            <a:cxnLst>
              <a:cxn ang="0">
                <a:pos x="connsiteX0" y="connsiteY0"/>
              </a:cxn>
              <a:cxn ang="0">
                <a:pos x="connsiteX1" y="connsiteY1"/>
              </a:cxn>
              <a:cxn ang="0">
                <a:pos x="connsiteX2" y="connsiteY2"/>
              </a:cxn>
              <a:cxn ang="0">
                <a:pos x="connsiteX3" y="connsiteY3"/>
              </a:cxn>
            </a:cxnLst>
            <a:rect l="l" t="t" r="r" b="b"/>
            <a:pathLst>
              <a:path w="1949236" h="1202511">
                <a:moveTo>
                  <a:pt x="0" y="0"/>
                </a:moveTo>
                <a:lnTo>
                  <a:pt x="1949236" y="0"/>
                </a:lnTo>
                <a:lnTo>
                  <a:pt x="1949236" y="1202511"/>
                </a:lnTo>
                <a:lnTo>
                  <a:pt x="0" y="1202511"/>
                </a:lnTo>
                <a:close/>
              </a:path>
            </a:pathLst>
          </a:custGeom>
          <a:solidFill>
            <a:schemeClr val="bg1">
              <a:lumMod val="95000"/>
            </a:schemeClr>
          </a:solidFill>
          <a:ln w="19050">
            <a:noFill/>
          </a:ln>
        </p:spPr>
        <p:txBody>
          <a:bodyPr wrap="square" lIns="0" tIns="0" rIns="0" bIns="182880" anchor="b">
            <a:noAutofit/>
          </a:bodyPr>
          <a:lstStyle>
            <a:lvl1pPr algn="ctr" rtl="0">
              <a:buNone/>
              <a:defRPr sz="1867">
                <a:solidFill>
                  <a:schemeClr val="tx1">
                    <a:lumMod val="75000"/>
                    <a:lumOff val="25000"/>
                  </a:schemeClr>
                </a:solidFill>
              </a:defRPr>
            </a:lvl1pPr>
          </a:lstStyle>
          <a:p>
            <a:r>
              <a:rPr lang="en-US"/>
              <a:t>Image Holder</a:t>
            </a:r>
          </a:p>
        </p:txBody>
      </p:sp>
      <p:sp>
        <p:nvSpPr>
          <p:cNvPr id="30" name="Picture Placeholder 29"/>
          <p:cNvSpPr>
            <a:spLocks noGrp="1"/>
          </p:cNvSpPr>
          <p:nvPr>
            <p:ph type="pic" sz="quarter" idx="14" hasCustomPrompt="1"/>
          </p:nvPr>
        </p:nvSpPr>
        <p:spPr>
          <a:xfrm>
            <a:off x="7936319" y="2132165"/>
            <a:ext cx="2598981" cy="1603348"/>
          </a:xfrm>
          <a:custGeom>
            <a:avLst/>
            <a:gdLst>
              <a:gd name="connsiteX0" fmla="*/ 0 w 1949236"/>
              <a:gd name="connsiteY0" fmla="*/ 0 h 1202511"/>
              <a:gd name="connsiteX1" fmla="*/ 1949236 w 1949236"/>
              <a:gd name="connsiteY1" fmla="*/ 0 h 1202511"/>
              <a:gd name="connsiteX2" fmla="*/ 1949236 w 1949236"/>
              <a:gd name="connsiteY2" fmla="*/ 1202511 h 1202511"/>
              <a:gd name="connsiteX3" fmla="*/ 0 w 1949236"/>
              <a:gd name="connsiteY3" fmla="*/ 1202511 h 1202511"/>
            </a:gdLst>
            <a:ahLst/>
            <a:cxnLst>
              <a:cxn ang="0">
                <a:pos x="connsiteX0" y="connsiteY0"/>
              </a:cxn>
              <a:cxn ang="0">
                <a:pos x="connsiteX1" y="connsiteY1"/>
              </a:cxn>
              <a:cxn ang="0">
                <a:pos x="connsiteX2" y="connsiteY2"/>
              </a:cxn>
              <a:cxn ang="0">
                <a:pos x="connsiteX3" y="connsiteY3"/>
              </a:cxn>
            </a:cxnLst>
            <a:rect l="l" t="t" r="r" b="b"/>
            <a:pathLst>
              <a:path w="1949236" h="1202511">
                <a:moveTo>
                  <a:pt x="0" y="0"/>
                </a:moveTo>
                <a:lnTo>
                  <a:pt x="1949236" y="0"/>
                </a:lnTo>
                <a:lnTo>
                  <a:pt x="1949236" y="1202511"/>
                </a:lnTo>
                <a:lnTo>
                  <a:pt x="0" y="1202511"/>
                </a:lnTo>
                <a:close/>
              </a:path>
            </a:pathLst>
          </a:custGeom>
          <a:solidFill>
            <a:schemeClr val="bg1">
              <a:lumMod val="95000"/>
            </a:schemeClr>
          </a:solidFill>
          <a:ln w="19050">
            <a:noFill/>
          </a:ln>
        </p:spPr>
        <p:txBody>
          <a:bodyPr wrap="square" lIns="0" tIns="0" rIns="0" bIns="182880" anchor="b">
            <a:noAutofit/>
          </a:bodyPr>
          <a:lstStyle>
            <a:lvl1pPr algn="ctr" rtl="0">
              <a:buNone/>
              <a:defRPr sz="1867">
                <a:solidFill>
                  <a:schemeClr val="tx1">
                    <a:lumMod val="75000"/>
                    <a:lumOff val="25000"/>
                  </a:schemeClr>
                </a:solidFill>
              </a:defRPr>
            </a:lvl1pPr>
          </a:lstStyle>
          <a:p>
            <a:r>
              <a:rPr lang="en-US"/>
              <a:t>Image Holder</a:t>
            </a:r>
          </a:p>
        </p:txBody>
      </p:sp>
      <p:sp>
        <p:nvSpPr>
          <p:cNvPr id="33" name="Picture Placeholder 32"/>
          <p:cNvSpPr>
            <a:spLocks noGrp="1"/>
          </p:cNvSpPr>
          <p:nvPr>
            <p:ph type="pic" sz="quarter" idx="12" hasCustomPrompt="1"/>
          </p:nvPr>
        </p:nvSpPr>
        <p:spPr>
          <a:xfrm>
            <a:off x="4167217" y="1735243"/>
            <a:ext cx="3876855" cy="2391687"/>
          </a:xfrm>
          <a:custGeom>
            <a:avLst/>
            <a:gdLst>
              <a:gd name="connsiteX0" fmla="*/ 0 w 2907641"/>
              <a:gd name="connsiteY0" fmla="*/ 0 h 1793765"/>
              <a:gd name="connsiteX1" fmla="*/ 2907641 w 2907641"/>
              <a:gd name="connsiteY1" fmla="*/ 0 h 1793765"/>
              <a:gd name="connsiteX2" fmla="*/ 2907641 w 2907641"/>
              <a:gd name="connsiteY2" fmla="*/ 1793765 h 1793765"/>
              <a:gd name="connsiteX3" fmla="*/ 0 w 2907641"/>
              <a:gd name="connsiteY3" fmla="*/ 1793765 h 1793765"/>
            </a:gdLst>
            <a:ahLst/>
            <a:cxnLst>
              <a:cxn ang="0">
                <a:pos x="connsiteX0" y="connsiteY0"/>
              </a:cxn>
              <a:cxn ang="0">
                <a:pos x="connsiteX1" y="connsiteY1"/>
              </a:cxn>
              <a:cxn ang="0">
                <a:pos x="connsiteX2" y="connsiteY2"/>
              </a:cxn>
              <a:cxn ang="0">
                <a:pos x="connsiteX3" y="connsiteY3"/>
              </a:cxn>
            </a:cxnLst>
            <a:rect l="l" t="t" r="r" b="b"/>
            <a:pathLst>
              <a:path w="2907641" h="1793765">
                <a:moveTo>
                  <a:pt x="0" y="0"/>
                </a:moveTo>
                <a:lnTo>
                  <a:pt x="2907641" y="0"/>
                </a:lnTo>
                <a:lnTo>
                  <a:pt x="2907641" y="1793765"/>
                </a:lnTo>
                <a:lnTo>
                  <a:pt x="0" y="1793765"/>
                </a:lnTo>
                <a:close/>
              </a:path>
            </a:pathLst>
          </a:custGeom>
          <a:solidFill>
            <a:schemeClr val="bg1">
              <a:lumMod val="95000"/>
            </a:schemeClr>
          </a:solidFill>
          <a:ln w="19050">
            <a:noFill/>
          </a:ln>
        </p:spPr>
        <p:txBody>
          <a:bodyPr wrap="square" lIns="0" tIns="0" rIns="0" bIns="182880" anchor="b">
            <a:noAutofit/>
          </a:bodyPr>
          <a:lstStyle>
            <a:lvl1pPr algn="ctr" rtl="0">
              <a:buNone/>
              <a:defRPr sz="1867">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2527077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27" name="Picture Placeholder 7"/>
          <p:cNvSpPr>
            <a:spLocks noGrp="1"/>
          </p:cNvSpPr>
          <p:nvPr>
            <p:ph type="pic" sz="quarter" idx="10" hasCustomPrompt="1"/>
          </p:nvPr>
        </p:nvSpPr>
        <p:spPr>
          <a:xfrm>
            <a:off x="0" y="0"/>
            <a:ext cx="12192000" cy="6858000"/>
          </a:xfrm>
          <a:prstGeom prst="rect">
            <a:avLst/>
          </a:prstGeom>
          <a:solidFill>
            <a:schemeClr val="bg1">
              <a:lumMod val="95000"/>
            </a:schemeClr>
          </a:solidFill>
          <a:ln w="19050">
            <a:noFill/>
          </a:ln>
        </p:spPr>
        <p:txBody>
          <a:bodyPr lIns="0" tIns="91440" rIns="0" bIns="1463040" anchor="b"/>
          <a:lstStyle>
            <a:lvl1pPr algn="ctr" rtl="0">
              <a:buNone/>
              <a:defRPr sz="1867">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103209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C401C-FCBB-EC2E-C865-42C67C97E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90AC1-4B9D-C35D-EC72-FBBBC5DF497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FBAA8D-EBD7-5E1F-8EE8-B0D25C6320C1}"/>
              </a:ext>
            </a:extLst>
          </p:cNvPr>
          <p:cNvSpPr>
            <a:spLocks noGrp="1"/>
          </p:cNvSpPr>
          <p:nvPr>
            <p:ph type="dt" sz="half" idx="10"/>
          </p:nvPr>
        </p:nvSpPr>
        <p:spPr/>
        <p:txBody>
          <a:bodyPr/>
          <a:lstStyle/>
          <a:p>
            <a:fld id="{F378D64B-859A-4736-8BEC-DB4EDE9688D9}" type="datetimeFigureOut">
              <a:rPr lang="en-US" smtClean="0"/>
              <a:t>6/27/2025</a:t>
            </a:fld>
            <a:endParaRPr lang="en-US"/>
          </a:p>
        </p:txBody>
      </p:sp>
      <p:sp>
        <p:nvSpPr>
          <p:cNvPr id="5" name="Footer Placeholder 4">
            <a:extLst>
              <a:ext uri="{FF2B5EF4-FFF2-40B4-BE49-F238E27FC236}">
                <a16:creationId xmlns:a16="http://schemas.microsoft.com/office/drawing/2014/main" id="{A95F5E05-D7B0-7066-4A81-F7CD25CCCD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2316B2-6EB0-5A30-CA0A-B8CE94ACA920}"/>
              </a:ext>
            </a:extLst>
          </p:cNvPr>
          <p:cNvSpPr>
            <a:spLocks noGrp="1"/>
          </p:cNvSpPr>
          <p:nvPr>
            <p:ph type="sldNum" sz="quarter" idx="12"/>
          </p:nvPr>
        </p:nvSpPr>
        <p:spPr/>
        <p:txBody>
          <a:bodyPr/>
          <a:lstStyle/>
          <a:p>
            <a:fld id="{00EBDF4E-29D0-49D0-899C-7CD6C3CE62A6}" type="slidenum">
              <a:rPr lang="en-US" smtClean="0"/>
              <a:t>‹#›</a:t>
            </a:fld>
            <a:endParaRPr lang="en-US"/>
          </a:p>
        </p:txBody>
      </p:sp>
    </p:spTree>
    <p:extLst>
      <p:ext uri="{BB962C8B-B14F-4D97-AF65-F5344CB8AC3E}">
        <p14:creationId xmlns:p14="http://schemas.microsoft.com/office/powerpoint/2010/main" val="3246639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6" name="Text Placeholder 6">
            <a:extLst>
              <a:ext uri="{FF2B5EF4-FFF2-40B4-BE49-F238E27FC236}">
                <a16:creationId xmlns:a16="http://schemas.microsoft.com/office/drawing/2014/main" id="{5AFD6C4D-50E1-45BF-B2ED-0A9FFDEAE4C0}"/>
              </a:ext>
            </a:extLst>
          </p:cNvPr>
          <p:cNvSpPr>
            <a:spLocks noGrp="1" noChangeAspect="1"/>
          </p:cNvSpPr>
          <p:nvPr>
            <p:ph type="body" sz="quarter" idx="20"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0F51EC41-342E-4D02-9FFF-C5D4DEB2EEEA}"/>
              </a:ext>
            </a:extLst>
          </p:cNvPr>
          <p:cNvSpPr>
            <a:spLocks noGrp="1"/>
          </p:cNvSpPr>
          <p:nvPr>
            <p:ph type="body" sz="quarter" idx="21"/>
          </p:nvPr>
        </p:nvSpPr>
        <p:spPr>
          <a:xfrm>
            <a:off x="495301"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047C2A36-7590-4740-94C1-01EC018E9EB3}"/>
              </a:ext>
            </a:extLst>
          </p:cNvPr>
          <p:cNvSpPr>
            <a:spLocks noGrp="1"/>
          </p:cNvSpPr>
          <p:nvPr>
            <p:ph type="body" sz="quarter" idx="22"/>
          </p:nvPr>
        </p:nvSpPr>
        <p:spPr>
          <a:xfrm>
            <a:off x="3409935"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2A9BC169-559C-4F7E-A57E-01F28DA84F56}"/>
              </a:ext>
            </a:extLst>
          </p:cNvPr>
          <p:cNvSpPr>
            <a:spLocks noGrp="1"/>
          </p:cNvSpPr>
          <p:nvPr>
            <p:ph type="body" sz="quarter" idx="23"/>
          </p:nvPr>
        </p:nvSpPr>
        <p:spPr>
          <a:xfrm>
            <a:off x="6322502"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F3E4D4D8-82E2-4E1B-B1D8-0A481E845E01}"/>
              </a:ext>
            </a:extLst>
          </p:cNvPr>
          <p:cNvSpPr>
            <a:spLocks noGrp="1"/>
          </p:cNvSpPr>
          <p:nvPr>
            <p:ph type="body" sz="quarter" idx="24"/>
          </p:nvPr>
        </p:nvSpPr>
        <p:spPr>
          <a:xfrm>
            <a:off x="9235069"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753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 name="Text Placeholder 6">
            <a:extLst>
              <a:ext uri="{FF2B5EF4-FFF2-40B4-BE49-F238E27FC236}">
                <a16:creationId xmlns:a16="http://schemas.microsoft.com/office/drawing/2014/main" id="{8AC5AD50-E468-6C17-FF05-D1507408C4F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8932541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 name="Text Placeholder 6">
            <a:extLst>
              <a:ext uri="{FF2B5EF4-FFF2-40B4-BE49-F238E27FC236}">
                <a16:creationId xmlns:a16="http://schemas.microsoft.com/office/drawing/2014/main" id="{93850744-A982-85D8-464C-26EABD919D0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5781990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 name="Text Placeholder 6">
            <a:extLst>
              <a:ext uri="{FF2B5EF4-FFF2-40B4-BE49-F238E27FC236}">
                <a16:creationId xmlns:a16="http://schemas.microsoft.com/office/drawing/2014/main" id="{86AC20B8-6281-CD20-EE13-49D3EED14021}"/>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9906484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2356894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9086358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hasCustomPrompt="1"/>
          </p:nvPr>
        </p:nvSpPr>
        <p:spPr>
          <a:xfrm>
            <a:off x="358820" y="1409700"/>
            <a:ext cx="7939020" cy="2019300"/>
          </a:xfrm>
        </p:spPr>
        <p:txBody>
          <a:bodyPr tIns="0" anchor="t"/>
          <a:lstStyle>
            <a:lvl1pPr algn="l">
              <a:lnSpc>
                <a:spcPct val="70000"/>
              </a:lnSpc>
              <a:defRPr sz="4400" b="0">
                <a:solidFill>
                  <a:schemeClr val="bg1"/>
                </a:solidFill>
              </a:defRPr>
            </a:lvl1pPr>
          </a:lstStyle>
          <a:p>
            <a:r>
              <a:rPr lang="en-US">
                <a:solidFill>
                  <a:srgbClr val="D22630"/>
                </a:solidFill>
              </a:rPr>
              <a:t>Presentation title,</a:t>
            </a:r>
            <a:br>
              <a:rPr lang="en-US">
                <a:solidFill>
                  <a:srgbClr val="D22630"/>
                </a:solidFill>
              </a:rPr>
            </a:br>
            <a:r>
              <a:rPr lang="en-US"/>
              <a:t>Arial </a:t>
            </a:r>
            <a:r>
              <a:rPr lang="en-US">
                <a:solidFill>
                  <a:schemeClr val="bg1"/>
                </a:solidFill>
              </a:rPr>
              <a:t>BLACK, 44pt</a:t>
            </a:r>
            <a:br>
              <a:rPr lang="en-US">
                <a:solidFill>
                  <a:schemeClr val="bg1"/>
                </a:solidFill>
              </a:rPr>
            </a:br>
            <a:r>
              <a:rPr lang="en-US">
                <a:solidFill>
                  <a:schemeClr val="bg1"/>
                </a:solidFill>
              </a:rPr>
              <a:t>Lorem ipsum</a:t>
            </a:r>
            <a:endParaRPr lang="en-US"/>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June 27, 2025</a:t>
            </a:fld>
            <a:endParaRPr lang="en-US"/>
          </a:p>
        </p:txBody>
      </p:sp>
    </p:spTree>
    <p:extLst>
      <p:ext uri="{BB962C8B-B14F-4D97-AF65-F5344CB8AC3E}">
        <p14:creationId xmlns:p14="http://schemas.microsoft.com/office/powerpoint/2010/main" val="161761927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419734575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112544754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403605682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226982890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346178891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71518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Tree>
    <p:extLst>
      <p:ext uri="{BB962C8B-B14F-4D97-AF65-F5344CB8AC3E}">
        <p14:creationId xmlns:p14="http://schemas.microsoft.com/office/powerpoint/2010/main" val="310471613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52932104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3253032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8982982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4424072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June 27, 2025</a:t>
            </a:fld>
            <a:endParaRPr lang="en-US"/>
          </a:p>
        </p:txBody>
      </p:sp>
    </p:spTree>
    <p:extLst>
      <p:ext uri="{BB962C8B-B14F-4D97-AF65-F5344CB8AC3E}">
        <p14:creationId xmlns:p14="http://schemas.microsoft.com/office/powerpoint/2010/main" val="81034521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2"/>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91EEC3B-5E82-A314-8971-402ABABF9C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258847239"/>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6" name="Text Placeholder 6">
            <a:extLst>
              <a:ext uri="{FF2B5EF4-FFF2-40B4-BE49-F238E27FC236}">
                <a16:creationId xmlns:a16="http://schemas.microsoft.com/office/drawing/2014/main" id="{5AFD6C4D-50E1-45BF-B2ED-0A9FFDEAE4C0}"/>
              </a:ext>
            </a:extLst>
          </p:cNvPr>
          <p:cNvSpPr>
            <a:spLocks noGrp="1" noChangeAspect="1"/>
          </p:cNvSpPr>
          <p:nvPr>
            <p:ph type="body" sz="quarter" idx="20"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0F51EC41-342E-4D02-9FFF-C5D4DEB2EEEA}"/>
              </a:ext>
            </a:extLst>
          </p:cNvPr>
          <p:cNvSpPr>
            <a:spLocks noGrp="1"/>
          </p:cNvSpPr>
          <p:nvPr>
            <p:ph type="body" sz="quarter" idx="21"/>
          </p:nvPr>
        </p:nvSpPr>
        <p:spPr>
          <a:xfrm>
            <a:off x="495301"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047C2A36-7590-4740-94C1-01EC018E9EB3}"/>
              </a:ext>
            </a:extLst>
          </p:cNvPr>
          <p:cNvSpPr>
            <a:spLocks noGrp="1"/>
          </p:cNvSpPr>
          <p:nvPr>
            <p:ph type="body" sz="quarter" idx="22"/>
          </p:nvPr>
        </p:nvSpPr>
        <p:spPr>
          <a:xfrm>
            <a:off x="3409935"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2A9BC169-559C-4F7E-A57E-01F28DA84F56}"/>
              </a:ext>
            </a:extLst>
          </p:cNvPr>
          <p:cNvSpPr>
            <a:spLocks noGrp="1"/>
          </p:cNvSpPr>
          <p:nvPr>
            <p:ph type="body" sz="quarter" idx="23"/>
          </p:nvPr>
        </p:nvSpPr>
        <p:spPr>
          <a:xfrm>
            <a:off x="6322502"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F3E4D4D8-82E2-4E1B-B1D8-0A481E845E01}"/>
              </a:ext>
            </a:extLst>
          </p:cNvPr>
          <p:cNvSpPr>
            <a:spLocks noGrp="1"/>
          </p:cNvSpPr>
          <p:nvPr>
            <p:ph type="body" sz="quarter" idx="24"/>
          </p:nvPr>
        </p:nvSpPr>
        <p:spPr>
          <a:xfrm>
            <a:off x="9235069"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77988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6" name="Text Placeholder 6">
            <a:extLst>
              <a:ext uri="{FF2B5EF4-FFF2-40B4-BE49-F238E27FC236}">
                <a16:creationId xmlns:a16="http://schemas.microsoft.com/office/drawing/2014/main" id="{5AFD6C4D-50E1-45BF-B2ED-0A9FFDEAE4C0}"/>
              </a:ext>
            </a:extLst>
          </p:cNvPr>
          <p:cNvSpPr>
            <a:spLocks noGrp="1" noChangeAspect="1"/>
          </p:cNvSpPr>
          <p:nvPr>
            <p:ph type="body" sz="quarter" idx="20"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0F51EC41-342E-4D02-9FFF-C5D4DEB2EEEA}"/>
              </a:ext>
            </a:extLst>
          </p:cNvPr>
          <p:cNvSpPr>
            <a:spLocks noGrp="1"/>
          </p:cNvSpPr>
          <p:nvPr>
            <p:ph type="body" sz="quarter" idx="21"/>
          </p:nvPr>
        </p:nvSpPr>
        <p:spPr>
          <a:xfrm>
            <a:off x="495301"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047C2A36-7590-4740-94C1-01EC018E9EB3}"/>
              </a:ext>
            </a:extLst>
          </p:cNvPr>
          <p:cNvSpPr>
            <a:spLocks noGrp="1"/>
          </p:cNvSpPr>
          <p:nvPr>
            <p:ph type="body" sz="quarter" idx="22"/>
          </p:nvPr>
        </p:nvSpPr>
        <p:spPr>
          <a:xfrm>
            <a:off x="3409935"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2A9BC169-559C-4F7E-A57E-01F28DA84F56}"/>
              </a:ext>
            </a:extLst>
          </p:cNvPr>
          <p:cNvSpPr>
            <a:spLocks noGrp="1"/>
          </p:cNvSpPr>
          <p:nvPr>
            <p:ph type="body" sz="quarter" idx="23"/>
          </p:nvPr>
        </p:nvSpPr>
        <p:spPr>
          <a:xfrm>
            <a:off x="6322502"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F3E4D4D8-82E2-4E1B-B1D8-0A481E845E01}"/>
              </a:ext>
            </a:extLst>
          </p:cNvPr>
          <p:cNvSpPr>
            <a:spLocks noGrp="1"/>
          </p:cNvSpPr>
          <p:nvPr>
            <p:ph type="body" sz="quarter" idx="24"/>
          </p:nvPr>
        </p:nvSpPr>
        <p:spPr>
          <a:xfrm>
            <a:off x="9235069"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998637"/>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2_Building 1 Section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2446AD6-B1BE-4488-9B19-2FB5B89B7BF7}"/>
              </a:ext>
            </a:extLst>
          </p:cNvPr>
          <p:cNvPicPr>
            <a:picLocks noChangeAspect="1"/>
          </p:cNvPicPr>
          <p:nvPr userDrawn="1"/>
        </p:nvPicPr>
        <p:blipFill>
          <a:blip r:embed="rId2"/>
          <a:stretch>
            <a:fillRect/>
          </a:stretch>
        </p:blipFill>
        <p:spPr>
          <a:xfrm>
            <a:off x="0" y="0"/>
            <a:ext cx="12191998" cy="6857999"/>
          </a:xfrm>
          <a:prstGeom prst="rect">
            <a:avLst/>
          </a:prstGeom>
        </p:spPr>
      </p:pic>
      <p:pic>
        <p:nvPicPr>
          <p:cNvPr id="13" name="Picture 12" descr="Text, logo&#10;&#10;Description automatically generated">
            <a:extLst>
              <a:ext uri="{FF2B5EF4-FFF2-40B4-BE49-F238E27FC236}">
                <a16:creationId xmlns:a16="http://schemas.microsoft.com/office/drawing/2014/main" id="{467A48EC-9F27-A331-1A9D-F820E0F882F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50875" y="569901"/>
            <a:ext cx="1576038" cy="914400"/>
          </a:xfrm>
          <a:prstGeom prst="rect">
            <a:avLst/>
          </a:prstGeom>
        </p:spPr>
      </p:pic>
      <p:sp>
        <p:nvSpPr>
          <p:cNvPr id="11" name="Text Placeholder 10">
            <a:extLst>
              <a:ext uri="{FF2B5EF4-FFF2-40B4-BE49-F238E27FC236}">
                <a16:creationId xmlns:a16="http://schemas.microsoft.com/office/drawing/2014/main" id="{A74AF780-9DA8-CD87-3030-3AB04C1A0333}"/>
              </a:ext>
            </a:extLst>
          </p:cNvPr>
          <p:cNvSpPr>
            <a:spLocks noGrp="1"/>
          </p:cNvSpPr>
          <p:nvPr>
            <p:ph type="body" sz="quarter" idx="15" hasCustomPrompt="1"/>
          </p:nvPr>
        </p:nvSpPr>
        <p:spPr>
          <a:xfrm>
            <a:off x="649288" y="1990724"/>
            <a:ext cx="9491590" cy="2886076"/>
          </a:xfrm>
        </p:spPr>
        <p:txBody>
          <a:bodyPr anchor="ctr" anchorCtr="0"/>
          <a:lstStyle>
            <a:lvl1pPr algn="l" defTabSz="914400" rtl="0" eaLnBrk="1" latinLnBrk="0" hangingPunct="1">
              <a:lnSpc>
                <a:spcPct val="85000"/>
              </a:lnSpc>
              <a:spcBef>
                <a:spcPct val="0"/>
              </a:spcBef>
              <a:buNone/>
              <a:defRPr lang="en-US" sz="4000" b="1" i="0" kern="1200" spc="-150" dirty="0">
                <a:solidFill>
                  <a:schemeClr val="bg1"/>
                </a:solidFill>
                <a:latin typeface="Arial Black" panose="020B0604020202020204" pitchFamily="34" charset="0"/>
                <a:ea typeface="+mj-ea"/>
                <a:cs typeface="+mj-cs"/>
              </a:defRPr>
            </a:lvl1pPr>
            <a:lvl2pPr marL="179387"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2pPr>
            <a:lvl3pPr marL="520700"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3pPr>
            <a:lvl4pPr marL="862012" indent="0" algn="l" defTabSz="914400" rtl="0" eaLnBrk="1" latinLnBrk="0" hangingPunct="1">
              <a:lnSpc>
                <a:spcPts val="3040"/>
              </a:lnSpc>
              <a:spcBef>
                <a:spcPct val="0"/>
              </a:spcBef>
              <a:buNone/>
              <a:defRPr lang="en-US" sz="3000" b="1" i="0" kern="1200" spc="-150" dirty="0" smtClean="0">
                <a:solidFill>
                  <a:schemeClr val="bg1"/>
                </a:solidFill>
                <a:latin typeface="Arial Black" panose="020B0604020202020204" pitchFamily="34" charset="0"/>
                <a:ea typeface="+mj-ea"/>
                <a:cs typeface="+mj-cs"/>
              </a:defRPr>
            </a:lvl4pPr>
            <a:lvl5pPr marL="1203325" indent="0" algn="l" defTabSz="914400" rtl="0" eaLnBrk="1" latinLnBrk="0" hangingPunct="1">
              <a:lnSpc>
                <a:spcPts val="3040"/>
              </a:lnSpc>
              <a:spcBef>
                <a:spcPct val="0"/>
              </a:spcBef>
              <a:buNone/>
              <a:defRPr lang="en-US" sz="3000" b="1" i="0" kern="1200" spc="-150" dirty="0">
                <a:solidFill>
                  <a:schemeClr val="bg1"/>
                </a:solidFill>
                <a:latin typeface="Arial Black" panose="020B0604020202020204" pitchFamily="34" charset="0"/>
                <a:ea typeface="+mj-ea"/>
                <a:cs typeface="+mj-cs"/>
              </a:defRPr>
            </a:lvl5pPr>
          </a:lstStyle>
          <a:p>
            <a:pPr marL="0" lvl="0" indent="0" algn="l" defTabSz="914400" rtl="0" eaLnBrk="1" latinLnBrk="0" hangingPunct="1">
              <a:lnSpc>
                <a:spcPts val="3200"/>
              </a:lnSpc>
              <a:spcBef>
                <a:spcPct val="0"/>
              </a:spcBef>
              <a:buFontTx/>
              <a:buNone/>
            </a:pPr>
            <a:r>
              <a:rPr lang="en-US"/>
              <a:t>CLICK TO EDIT MASTER TITLE STYLE</a:t>
            </a:r>
          </a:p>
        </p:txBody>
      </p:sp>
      <p:pic>
        <p:nvPicPr>
          <p:cNvPr id="10" name="Picture 9">
            <a:extLst>
              <a:ext uri="{FF2B5EF4-FFF2-40B4-BE49-F238E27FC236}">
                <a16:creationId xmlns:a16="http://schemas.microsoft.com/office/drawing/2014/main" id="{A55F3AEF-C1C5-F24A-956A-DDC66039DDC0}"/>
              </a:ext>
            </a:extLst>
          </p:cNvPr>
          <p:cNvPicPr>
            <a:picLocks noChangeAspect="1"/>
          </p:cNvPicPr>
          <p:nvPr userDrawn="1"/>
        </p:nvPicPr>
        <p:blipFill>
          <a:blip r:embed="rId4"/>
          <a:stretch>
            <a:fillRect/>
          </a:stretch>
        </p:blipFill>
        <p:spPr>
          <a:xfrm>
            <a:off x="10140878" y="6236163"/>
            <a:ext cx="1400247" cy="256712"/>
          </a:xfrm>
          <a:prstGeom prst="rect">
            <a:avLst/>
          </a:prstGeom>
        </p:spPr>
      </p:pic>
      <p:sp>
        <p:nvSpPr>
          <p:cNvPr id="2" name="Rectangle 1">
            <a:extLst>
              <a:ext uri="{FF2B5EF4-FFF2-40B4-BE49-F238E27FC236}">
                <a16:creationId xmlns:a16="http://schemas.microsoft.com/office/drawing/2014/main" id="{30308ADE-99FB-A539-587D-88FCC7BC3750}"/>
              </a:ext>
            </a:extLst>
          </p:cNvPr>
          <p:cNvSpPr/>
          <p:nvPr userDrawn="1"/>
        </p:nvSpPr>
        <p:spPr>
          <a:xfrm>
            <a:off x="649316" y="6315903"/>
            <a:ext cx="2587247" cy="176972"/>
          </a:xfrm>
          <a:prstGeom prst="rect">
            <a:avLst/>
          </a:prstGeom>
        </p:spPr>
        <p:txBody>
          <a:bodyPr wrap="none" lIns="0" rIns="0">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4 by Honeywell International Inc. All rights reserved. </a:t>
            </a:r>
          </a:p>
        </p:txBody>
      </p:sp>
    </p:spTree>
    <p:extLst>
      <p:ext uri="{BB962C8B-B14F-4D97-AF65-F5344CB8AC3E}">
        <p14:creationId xmlns:p14="http://schemas.microsoft.com/office/powerpoint/2010/main" val="255383335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1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3164677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27, 2025</a:t>
            </a:fld>
            <a:endParaRPr lang="en-US"/>
          </a:p>
        </p:txBody>
      </p:sp>
      <p:pic>
        <p:nvPicPr>
          <p:cNvPr id="7" name="Graphic 6">
            <a:extLst>
              <a:ext uri="{FF2B5EF4-FFF2-40B4-BE49-F238E27FC236}">
                <a16:creationId xmlns:a16="http://schemas.microsoft.com/office/drawing/2014/main" id="{A6CA9089-D488-4025-B808-A0F364A7E50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spTree>
    <p:extLst>
      <p:ext uri="{BB962C8B-B14F-4D97-AF65-F5344CB8AC3E}">
        <p14:creationId xmlns:p14="http://schemas.microsoft.com/office/powerpoint/2010/main" val="61989940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27, 2025</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08689412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June 27, 2025</a:t>
            </a:fld>
            <a:endParaRPr lang="en-US"/>
          </a:p>
        </p:txBody>
      </p:sp>
    </p:spTree>
    <p:extLst>
      <p:ext uri="{BB962C8B-B14F-4D97-AF65-F5344CB8AC3E}">
        <p14:creationId xmlns:p14="http://schemas.microsoft.com/office/powerpoint/2010/main" val="1347388019"/>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June 27, 2025</a:t>
            </a:fld>
            <a:endParaRPr lang="en-US"/>
          </a:p>
        </p:txBody>
      </p:sp>
    </p:spTree>
    <p:extLst>
      <p:ext uri="{BB962C8B-B14F-4D97-AF65-F5344CB8AC3E}">
        <p14:creationId xmlns:p14="http://schemas.microsoft.com/office/powerpoint/2010/main" val="1437064428"/>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June 27, 2025</a:t>
            </a:fld>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873719395"/>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June 27, 2025</a:t>
            </a:fld>
            <a:endParaRPr lang="en-US"/>
          </a:p>
        </p:txBody>
      </p:sp>
      <p:pic>
        <p:nvPicPr>
          <p:cNvPr id="18" name="Picture 17">
            <a:extLst>
              <a:ext uri="{FF2B5EF4-FFF2-40B4-BE49-F238E27FC236}">
                <a16:creationId xmlns:a16="http://schemas.microsoft.com/office/drawing/2014/main" id="{3A7BAEF5-018A-1A8D-1247-A581834FCAD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178496"/>
            <a:ext cx="1762335" cy="327980"/>
          </a:xfrm>
          <a:prstGeom prst="rect">
            <a:avLst/>
          </a:prstGeom>
        </p:spPr>
      </p:pic>
    </p:spTree>
    <p:extLst>
      <p:ext uri="{BB962C8B-B14F-4D97-AF65-F5344CB8AC3E}">
        <p14:creationId xmlns:p14="http://schemas.microsoft.com/office/powerpoint/2010/main" val="720914300"/>
      </p:ext>
    </p:extLst>
  </p:cSld>
  <p:clrMapOvr>
    <a:masterClrMapping/>
  </p:clrMapOvr>
  <p:extLst>
    <p:ext uri="{DCECCB84-F9BA-43D5-87BE-67443E8EF086}">
      <p15:sldGuideLst xmlns:p15="http://schemas.microsoft.com/office/powerpoint/2012/main">
        <p15:guide id="1" pos="5592">
          <p15:clr>
            <a:srgbClr val="FBAE40"/>
          </p15:clr>
        </p15:guide>
        <p15:guide id="2" orient="horz" pos="3024" userDrawn="1">
          <p15:clr>
            <a:srgbClr val="FBAE40"/>
          </p15:clr>
        </p15:guide>
        <p15:guide id="3" orient="horz" pos="1896" userDrawn="1">
          <p15:clr>
            <a:srgbClr val="FBAE40"/>
          </p15:clr>
        </p15:guide>
        <p15:guide id="4" orient="horz" pos="27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1580291900"/>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0341" y="6369208"/>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07559793"/>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0075" y="3848100"/>
            <a:ext cx="11310017" cy="440044"/>
          </a:xfrm>
        </p:spPr>
        <p:txBody>
          <a:bodyPr tIns="0" anchor="t"/>
          <a:lstStyle>
            <a:lvl1pPr>
              <a:lnSpc>
                <a:spcPct val="70000"/>
              </a:lnSpc>
              <a:defRPr sz="4400" b="0"/>
            </a:lvl1pPr>
          </a:lstStyle>
          <a:p>
            <a:r>
              <a:rPr lang="en-US"/>
              <a:t>Click to edit Master title style</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
        <p:nvSpPr>
          <p:cNvPr id="13" name="Text Placeholder 2">
            <a:extLst>
              <a:ext uri="{FF2B5EF4-FFF2-40B4-BE49-F238E27FC236}">
                <a16:creationId xmlns:a16="http://schemas.microsoft.com/office/drawing/2014/main" id="{DC7E4161-FFC3-4CB6-9A62-6A3DE1538095}"/>
              </a:ext>
            </a:extLst>
          </p:cNvPr>
          <p:cNvSpPr>
            <a:spLocks noGrp="1"/>
          </p:cNvSpPr>
          <p:nvPr>
            <p:ph type="body" idx="1" hasCustomPrompt="1"/>
          </p:nvPr>
        </p:nvSpPr>
        <p:spPr>
          <a:xfrm>
            <a:off x="329908"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3" name="Graphic 2">
            <a:extLst>
              <a:ext uri="{FF2B5EF4-FFF2-40B4-BE49-F238E27FC236}">
                <a16:creationId xmlns:a16="http://schemas.microsoft.com/office/drawing/2014/main" id="{9E35C771-5FE4-59B7-D0B2-48A16C68EE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0341" y="6369208"/>
            <a:ext cx="1143000" cy="213769"/>
          </a:xfrm>
          <a:prstGeom prst="rect">
            <a:avLst/>
          </a:prstGeom>
        </p:spPr>
      </p:pic>
    </p:spTree>
    <p:extLst>
      <p:ext uri="{BB962C8B-B14F-4D97-AF65-F5344CB8AC3E}">
        <p14:creationId xmlns:p14="http://schemas.microsoft.com/office/powerpoint/2010/main" val="3690867378"/>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2877538180"/>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102877249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p:txBody>
      </p:sp>
    </p:spTree>
    <p:extLst>
      <p:ext uri="{BB962C8B-B14F-4D97-AF65-F5344CB8AC3E}">
        <p14:creationId xmlns:p14="http://schemas.microsoft.com/office/powerpoint/2010/main" val="154914276"/>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100000"/>
              </a:lnSpc>
              <a:spcBef>
                <a:spcPts val="400"/>
              </a:spcBef>
              <a:buClr>
                <a:schemeClr val="accent1"/>
              </a:buClr>
              <a:buFont typeface="+mj-lt"/>
              <a:buAutoNum type="arabicPeriod"/>
              <a:defRPr sz="2400" b="1"/>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100000"/>
              </a:lnSpc>
              <a:spcBef>
                <a:spcPts val="400"/>
              </a:spcBef>
              <a:buClr>
                <a:schemeClr val="accent1"/>
              </a:buClr>
              <a:buFont typeface="+mj-lt"/>
              <a:buAutoNum type="arabicPeriod" startAt="4"/>
              <a:defRPr sz="2400"/>
            </a:lvl1pPr>
            <a:lvl2pPr marL="0" indent="0">
              <a:lnSpc>
                <a:spcPct val="100000"/>
              </a:lnSpc>
              <a:spcBef>
                <a:spcPts val="400"/>
              </a:spcBef>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p:txBody>
      </p:sp>
    </p:spTree>
    <p:extLst>
      <p:ext uri="{BB962C8B-B14F-4D97-AF65-F5344CB8AC3E}">
        <p14:creationId xmlns:p14="http://schemas.microsoft.com/office/powerpoint/2010/main" val="33263124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3" name="Rectangle 23">
            <a:extLst>
              <a:ext uri="{FF2B5EF4-FFF2-40B4-BE49-F238E27FC236}">
                <a16:creationId xmlns:a16="http://schemas.microsoft.com/office/drawing/2014/main" id="{F681587E-4DF3-EDA9-D475-3F125132E17E}"/>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4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3726487278"/>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299"/>
            <a:ext cx="5524500" cy="5850909"/>
          </a:xfrm>
        </p:spPr>
        <p:txBody>
          <a:bodyPr anchor="ctr"/>
          <a:lstStyle>
            <a:lvl1pPr>
              <a:lnSpc>
                <a:spcPct val="100000"/>
              </a:lnSpc>
              <a:spcBef>
                <a:spcPts val="400"/>
              </a:spcBef>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34024265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42901" y="495300"/>
            <a:ext cx="5524500" cy="5878204"/>
          </a:xfrm>
        </p:spPr>
        <p:txBody>
          <a:bodyPr anchor="ctr"/>
          <a:lstStyle>
            <a:lvl1pPr>
              <a:lnSpc>
                <a:spcPct val="100000"/>
              </a:lnSpc>
              <a:spcBef>
                <a:spcPts val="400"/>
              </a:spcBef>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518235359"/>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hasCustomPrompt="1"/>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Section title, </a:t>
            </a:r>
            <a:br>
              <a:rPr lang="en-US"/>
            </a:br>
            <a:r>
              <a:rPr lang="en-US"/>
              <a:t>Arial BLACK, 44pt</a:t>
            </a:r>
          </a:p>
        </p:txBody>
      </p:sp>
    </p:spTree>
    <p:extLst>
      <p:ext uri="{BB962C8B-B14F-4D97-AF65-F5344CB8AC3E}">
        <p14:creationId xmlns:p14="http://schemas.microsoft.com/office/powerpoint/2010/main" val="70949447"/>
      </p:ext>
    </p:extLst>
  </p:cSld>
  <p:clrMapOvr>
    <a:masterClrMapping/>
  </p:clrMapOvr>
  <p:extLst>
    <p:ext uri="{DCECCB84-F9BA-43D5-87BE-67443E8EF086}">
      <p15:sldGuideLst xmlns:p15="http://schemas.microsoft.com/office/powerpoint/2012/main">
        <p15:guide id="1" pos="5592"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lnSpc>
                <a:spcPct val="100000"/>
              </a:lnSpc>
              <a:spcBef>
                <a:spcPts val="400"/>
              </a:spcBef>
            </a:pPr>
            <a:r>
              <a:rPr lang="en-US">
                <a:solidFill>
                  <a:prstClr val="black"/>
                </a:solidFill>
              </a:rPr>
              <a:t>First level of text, Arial Bold 24pt</a:t>
            </a:r>
          </a:p>
          <a:p>
            <a:pPr>
              <a:lnSpc>
                <a:spcPct val="100000"/>
              </a:lnSpc>
              <a:spcBef>
                <a:spcPts val="400"/>
              </a:spcBef>
            </a:pPr>
            <a:r>
              <a:rPr lang="en-US" sz="2200" b="0"/>
              <a:t>Second level</a:t>
            </a:r>
            <a:r>
              <a:rPr lang="en-US" sz="2200" b="0">
                <a:solidFill>
                  <a:prstClr val="black"/>
                </a:solidFill>
              </a:rPr>
              <a:t> of text, Arial 22pt</a:t>
            </a:r>
            <a:endParaRPr lang="en-US" sz="2200" b="0"/>
          </a:p>
        </p:txBody>
      </p:sp>
      <p:sp>
        <p:nvSpPr>
          <p:cNvPr id="2" name="Text Placeholder 6">
            <a:extLst>
              <a:ext uri="{FF2B5EF4-FFF2-40B4-BE49-F238E27FC236}">
                <a16:creationId xmlns:a16="http://schemas.microsoft.com/office/drawing/2014/main" id="{0FBBA11C-1284-25E9-2202-DFF2EF48CFD7}"/>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0377962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Tree>
    <p:extLst>
      <p:ext uri="{BB962C8B-B14F-4D97-AF65-F5344CB8AC3E}">
        <p14:creationId xmlns:p14="http://schemas.microsoft.com/office/powerpoint/2010/main" val="1381306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009DA6B7-96F6-6714-980C-A366518DAFB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152458492"/>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p:txBody>
      </p:sp>
      <p:sp>
        <p:nvSpPr>
          <p:cNvPr id="2" name="Text Placeholder 6">
            <a:extLst>
              <a:ext uri="{FF2B5EF4-FFF2-40B4-BE49-F238E27FC236}">
                <a16:creationId xmlns:a16="http://schemas.microsoft.com/office/drawing/2014/main" id="{D7A77A03-89FA-DE61-C9BC-ED80C5ED68C5}"/>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97221733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2000"/>
            </a:lvl2pPr>
            <a:lvl3pPr marL="720000" indent="-342900">
              <a:lnSpc>
                <a:spcPct val="100000"/>
              </a:lnSpc>
              <a:spcBef>
                <a:spcPts val="400"/>
              </a:spcBef>
              <a:buFont typeface="Arial" panose="020B0604020202020204" pitchFamily="34" charset="0"/>
              <a:buChar char="‒"/>
              <a:defRPr sz="1800"/>
            </a:lvl3pPr>
            <a:lvl4pPr marL="1044000" indent="-342000">
              <a:lnSpc>
                <a:spcPct val="100000"/>
              </a:lnSpc>
              <a:spcBef>
                <a:spcPts val="400"/>
              </a:spcBef>
              <a:buFont typeface="Wingdings" panose="05000000000000000000" pitchFamily="2" charset="2"/>
              <a:buChar char="§"/>
              <a:defRPr sz="1600"/>
            </a:lvl4pPr>
            <a:lvl5pPr marL="1368000" indent="-342000">
              <a:lnSpc>
                <a:spcPct val="100000"/>
              </a:lnSpc>
              <a:spcBef>
                <a:spcPts val="400"/>
              </a:spcBef>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C628086F-C662-1E45-D10A-801CF7C63DED}"/>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71487227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4277D0BA-9BCD-DB25-7E5F-D132338263C2}"/>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42979228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20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600"/>
            </a:lvl4pPr>
            <a:lvl5pPr marL="1368000" indent="-342000">
              <a:lnSpc>
                <a:spcPct val="90000"/>
              </a:lnSpc>
              <a:buFont typeface="Courier New" panose="02070309020205020404" pitchFamily="49" charset="0"/>
              <a:buChar char="o"/>
              <a:defRPr sz="1400"/>
            </a:lvl5pPr>
          </a:lstStyle>
          <a:p>
            <a:pPr lvl="0"/>
            <a:r>
              <a:rPr lang="en-US"/>
              <a:t>Edit Master text styles, 20pt</a:t>
            </a:r>
          </a:p>
          <a:p>
            <a:pPr lvl="1"/>
            <a:r>
              <a:rPr lang="en-US"/>
              <a:t>Second level, 18pt</a:t>
            </a:r>
          </a:p>
          <a:p>
            <a:pPr lvl="2"/>
            <a:r>
              <a:rPr lang="en-US"/>
              <a:t>Third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3F26ABA6-5DC6-296B-81A3-64A2AA19CBF0}"/>
              </a:ext>
            </a:extLst>
          </p:cNvPr>
          <p:cNvSpPr>
            <a:spLocks noGrp="1"/>
          </p:cNvSpPr>
          <p:nvPr>
            <p:ph type="body" sz="quarter" idx="22"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2916365562"/>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15408"/>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215408"/>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21540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2" name="Text Placeholder 6">
            <a:extLst>
              <a:ext uri="{FF2B5EF4-FFF2-40B4-BE49-F238E27FC236}">
                <a16:creationId xmlns:a16="http://schemas.microsoft.com/office/drawing/2014/main" id="{5FB1A56D-FD9B-5DC6-E465-32AB455A8DC6}"/>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42215848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490408"/>
            <a:ext cx="2459736" cy="2019300"/>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90000"/>
              </a:lnSpc>
              <a:buFont typeface="Wingdings" panose="05000000000000000000" pitchFamily="2" charset="2"/>
              <a:buChar char="§"/>
              <a:defRPr sz="1400"/>
            </a:lvl4pPr>
            <a:lvl5pPr marL="1152000" indent="-182563">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515410"/>
            <a:ext cx="2466363"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90000"/>
              </a:lnSpc>
              <a:buFont typeface="Wingdings" panose="05000000000000000000" pitchFamily="2" charset="2"/>
              <a:buChar char="§"/>
              <a:defRPr sz="1400"/>
            </a:lvl4pPr>
            <a:lvl5pPr marL="1368000" indent="-342000">
              <a:lnSpc>
                <a:spcPct val="90000"/>
              </a:lnSpc>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2"/>
            <a:endParaRPr lang="en-US"/>
          </a:p>
        </p:txBody>
      </p:sp>
      <p:sp>
        <p:nvSpPr>
          <p:cNvPr id="2" name="Text Placeholder 6">
            <a:extLst>
              <a:ext uri="{FF2B5EF4-FFF2-40B4-BE49-F238E27FC236}">
                <a16:creationId xmlns:a16="http://schemas.microsoft.com/office/drawing/2014/main" id="{71C2E6ED-F294-9B2C-99B8-06AE195F4445}"/>
              </a:ext>
            </a:extLst>
          </p:cNvPr>
          <p:cNvSpPr>
            <a:spLocks noGrp="1"/>
          </p:cNvSpPr>
          <p:nvPr>
            <p:ph type="body" sz="quarter" idx="25"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48782010"/>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 name="Text Placeholder 6">
            <a:extLst>
              <a:ext uri="{FF2B5EF4-FFF2-40B4-BE49-F238E27FC236}">
                <a16:creationId xmlns:a16="http://schemas.microsoft.com/office/drawing/2014/main" id="{8AC5AD50-E468-6C17-FF05-D1507408C4F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120300360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29908"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pic>
        <p:nvPicPr>
          <p:cNvPr id="9" name="Picture 8">
            <a:extLst>
              <a:ext uri="{FF2B5EF4-FFF2-40B4-BE49-F238E27FC236}">
                <a16:creationId xmlns:a16="http://schemas.microsoft.com/office/drawing/2014/main" id="{19804D85-6B92-8F46-56DC-17E0F8233D2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Tree>
    <p:extLst>
      <p:ext uri="{BB962C8B-B14F-4D97-AF65-F5344CB8AC3E}">
        <p14:creationId xmlns:p14="http://schemas.microsoft.com/office/powerpoint/2010/main" val="4242716659"/>
      </p:ext>
    </p:extLst>
  </p:cSld>
  <p:clrMapOvr>
    <a:masterClrMapping/>
  </p:clrMapOvr>
  <p:extLst>
    <p:ext uri="{DCECCB84-F9BA-43D5-87BE-67443E8EF086}">
      <p15:sldGuideLst xmlns:p15="http://schemas.microsoft.com/office/powerpoint/2012/main">
        <p15:guide id="1" orient="horz" pos="3216" userDrawn="1">
          <p15:clr>
            <a:srgbClr val="FBAE40"/>
          </p15:clr>
        </p15:guide>
        <p15:guide id="2" pos="5592"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D0A655-F697-594B-BF30-A9D85D8159A9}"/>
              </a:ext>
            </a:extLst>
          </p:cNvPr>
          <p:cNvGraphicFramePr>
            <a:graphicFrameLocks noChangeAspect="1"/>
          </p:cNvGraphicFramePr>
          <p:nvPr userDrawn="1">
            <p:custDataLst>
              <p:tags r:id="rId1"/>
            </p:custDataLst>
            <p:extLst>
              <p:ext uri="{D42A27DB-BD31-4B8C-83A1-F6EECF244321}">
                <p14:modId xmlns:p14="http://schemas.microsoft.com/office/powerpoint/2010/main" val="3974472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C1D0A655-F697-594B-BF30-A9D85D8159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353174"/>
          </a:xfrm>
        </p:spPr>
        <p:txBody>
          <a:bodyPr vert="horz" wrap="square" anchor="t">
            <a:spAutoFit/>
          </a:bodyPr>
          <a:lstStyle>
            <a:lvl1pPr>
              <a:lnSpc>
                <a:spcPct val="80000"/>
              </a:lnSpc>
              <a:defRPr sz="2800">
                <a:solidFill>
                  <a:schemeClr val="tx1"/>
                </a:solidFill>
              </a:defRPr>
            </a:lvl1pPr>
          </a:lstStyle>
          <a:p>
            <a:r>
              <a:rPr lang="en-US"/>
              <a:t>Click to edit Master title style</a:t>
            </a:r>
          </a:p>
        </p:txBody>
      </p:sp>
      <p:sp>
        <p:nvSpPr>
          <p:cNvPr id="2" name="Text Placeholder 6">
            <a:extLst>
              <a:ext uri="{FF2B5EF4-FFF2-40B4-BE49-F238E27FC236}">
                <a16:creationId xmlns:a16="http://schemas.microsoft.com/office/drawing/2014/main" id="{93850744-A982-85D8-464C-26EABD919D0A}"/>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3590794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 name="Text Placeholder 6">
            <a:extLst>
              <a:ext uri="{FF2B5EF4-FFF2-40B4-BE49-F238E27FC236}">
                <a16:creationId xmlns:a16="http://schemas.microsoft.com/office/drawing/2014/main" id="{86AC20B8-6281-CD20-EE13-49D3EED14021}"/>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a:t>Key Takeaway, Lorem ipsum dolor sit </a:t>
            </a:r>
            <a:r>
              <a:rPr lang="en-US" err="1"/>
              <a:t>amet</a:t>
            </a:r>
            <a:r>
              <a:rPr lang="en-US"/>
              <a:t>, </a:t>
            </a:r>
            <a:r>
              <a:rPr lang="en-US" err="1"/>
              <a:t>ea</a:t>
            </a:r>
            <a:r>
              <a:rPr lang="en-US"/>
              <a:t> diam </a:t>
            </a:r>
            <a:r>
              <a:rPr lang="en-US" err="1"/>
              <a:t>vitu</a:t>
            </a:r>
            <a:r>
              <a:rPr lang="en-US"/>
              <a:t> </a:t>
            </a:r>
            <a:r>
              <a:rPr lang="en-US" err="1"/>
              <a:t>perata</a:t>
            </a:r>
            <a:r>
              <a:rPr lang="en-US"/>
              <a:t> sea.</a:t>
            </a:r>
          </a:p>
        </p:txBody>
      </p:sp>
    </p:spTree>
    <p:extLst>
      <p:ext uri="{BB962C8B-B14F-4D97-AF65-F5344CB8AC3E}">
        <p14:creationId xmlns:p14="http://schemas.microsoft.com/office/powerpoint/2010/main" val="32703703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5701779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878064040"/>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06652142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2011242"/>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298995814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278603926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2433513"/>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1557021529"/>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400"/>
            </a:lvl4pPr>
            <a:lvl5pPr marL="1152000" indent="-182563">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1249528798"/>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5"/>
            <a:ext cx="2459736" cy="2685717"/>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972000" indent="-228600">
              <a:lnSpc>
                <a:spcPct val="100000"/>
              </a:lnSpc>
              <a:spcBef>
                <a:spcPts val="400"/>
              </a:spcBef>
              <a:buFont typeface="Wingdings" panose="05000000000000000000" pitchFamily="2" charset="2"/>
              <a:buChar char="§"/>
              <a:defRPr sz="1800"/>
            </a:lvl4pPr>
            <a:lvl5pPr marL="1152000" indent="-182563">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71518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a:t>Edit Master text styles, 20pt</a:t>
            </a:r>
          </a:p>
          <a:p>
            <a:pPr lvl="1"/>
            <a:r>
              <a:rPr lang="en-US"/>
              <a:t>Second level, 18pt</a:t>
            </a:r>
          </a:p>
          <a:p>
            <a:pPr lvl="2"/>
            <a:r>
              <a:rPr lang="en-US"/>
              <a:t>Third level, 16pt</a:t>
            </a:r>
          </a:p>
        </p:txBody>
      </p:sp>
    </p:spTree>
    <p:extLst>
      <p:ext uri="{BB962C8B-B14F-4D97-AF65-F5344CB8AC3E}">
        <p14:creationId xmlns:p14="http://schemas.microsoft.com/office/powerpoint/2010/main" val="19839011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AAC5B92-BD5C-40B8-8837-AA1A4971E6F0}"/>
              </a:ext>
              <a:ext uri="{C183D7F6-B498-43B3-948B-1728B52AA6E4}">
                <adec:decorative xmlns:adec="http://schemas.microsoft.com/office/drawing/2017/decorative" val="1"/>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 uri="{C183D7F6-B498-43B3-948B-1728B52AA6E4}">
                <adec:decorative xmlns:adec="http://schemas.microsoft.com/office/drawing/2017/decorative" val="1"/>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 uri="{C183D7F6-B498-43B3-948B-1728B52AA6E4}">
                <adec:decorative xmlns:adec="http://schemas.microsoft.com/office/drawing/2017/decorative" val="1"/>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 uri="{C183D7F6-B498-43B3-948B-1728B52AA6E4}">
                <adec:decorative xmlns:adec="http://schemas.microsoft.com/office/drawing/2017/decorative" val="1"/>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 uri="{C183D7F6-B498-43B3-948B-1728B52AA6E4}">
                <adec:decorative xmlns:adec="http://schemas.microsoft.com/office/drawing/2017/decorative" val="1"/>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4" name="Title 1">
            <a:extLst>
              <a:ext uri="{FF2B5EF4-FFF2-40B4-BE49-F238E27FC236}">
                <a16:creationId xmlns:a16="http://schemas.microsoft.com/office/drawing/2014/main" id="{6943ABCC-87C0-8FAB-F809-89142992B40B}"/>
              </a:ext>
              <a:ext uri="{C183D7F6-B498-43B3-948B-1728B52AA6E4}">
                <adec:decorative xmlns:adec="http://schemas.microsoft.com/office/drawing/2017/decorative" val="1"/>
              </a:ext>
            </a:extLst>
          </p:cNvPr>
          <p:cNvSpPr>
            <a:spLocks noGrp="1"/>
          </p:cNvSpPr>
          <p:nvPr>
            <p:ph type="title" hasCustomPrompt="1"/>
          </p:nvPr>
        </p:nvSpPr>
        <p:spPr>
          <a:xfrm>
            <a:off x="329908" y="3848099"/>
            <a:ext cx="11700254" cy="978088"/>
          </a:xfrm>
        </p:spPr>
        <p:txBody>
          <a:bodyPr wrap="square" tIns="0" anchor="t">
            <a:spAutoFit/>
          </a:bodyPr>
          <a:lstStyle>
            <a:lvl1pPr>
              <a:lnSpc>
                <a:spcPct val="70000"/>
              </a:lnSpc>
              <a:defRPr sz="4400" b="0"/>
            </a:lvl1pPr>
          </a:lstStyle>
          <a:p>
            <a:r>
              <a:rPr lang="en-US"/>
              <a:t>Section title, </a:t>
            </a:r>
            <a:br>
              <a:rPr lang="en-US"/>
            </a:br>
            <a:r>
              <a:rPr lang="en-US"/>
              <a:t>Arial BLACK, 44pt</a:t>
            </a:r>
          </a:p>
        </p:txBody>
      </p:sp>
      <p:sp>
        <p:nvSpPr>
          <p:cNvPr id="5" name="Text Placeholder 2">
            <a:extLst>
              <a:ext uri="{FF2B5EF4-FFF2-40B4-BE49-F238E27FC236}">
                <a16:creationId xmlns:a16="http://schemas.microsoft.com/office/drawing/2014/main" id="{C5C28376-1508-D661-24C0-EAFA87552E29}"/>
              </a:ext>
              <a:ext uri="{C183D7F6-B498-43B3-948B-1728B52AA6E4}">
                <adec:decorative xmlns:adec="http://schemas.microsoft.com/office/drawing/2017/decorative" val="1"/>
              </a:ext>
            </a:extLst>
          </p:cNvPr>
          <p:cNvSpPr>
            <a:spLocks noGrp="1"/>
          </p:cNvSpPr>
          <p:nvPr>
            <p:ph type="body" idx="1" hasCustomPrompt="1"/>
          </p:nvPr>
        </p:nvSpPr>
        <p:spPr>
          <a:xfrm>
            <a:off x="320076"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6">
            <a:extLst>
              <a:ext uri="{FF2B5EF4-FFF2-40B4-BE49-F238E27FC236}">
                <a16:creationId xmlns:a16="http://schemas.microsoft.com/office/drawing/2014/main" id="{47FEA108-4D55-FA4F-4202-447CCCF71D3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32" y="6370517"/>
            <a:ext cx="1141609" cy="212460"/>
          </a:xfrm>
          <a:prstGeom prst="rect">
            <a:avLst/>
          </a:prstGeom>
        </p:spPr>
      </p:pic>
      <p:sp>
        <p:nvSpPr>
          <p:cNvPr id="6" name="Slide Number Placeholder 5">
            <a:extLst>
              <a:ext uri="{FF2B5EF4-FFF2-40B4-BE49-F238E27FC236}">
                <a16:creationId xmlns:a16="http://schemas.microsoft.com/office/drawing/2014/main" id="{7C9446BA-0FD3-4FFF-B220-7298D3F88A4C}"/>
              </a:ex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213024141"/>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100000"/>
              </a:lnSpc>
              <a:spcBef>
                <a:spcPts val="400"/>
              </a:spcBef>
              <a:buClr>
                <a:schemeClr val="accent1"/>
              </a:buClr>
              <a:buFont typeface="+mj-lt"/>
              <a:buNone/>
              <a:defRPr sz="2000"/>
            </a:lvl1pPr>
            <a:lvl2pPr marL="0" indent="-342900">
              <a:lnSpc>
                <a:spcPct val="100000"/>
              </a:lnSpc>
              <a:spcBef>
                <a:spcPts val="400"/>
              </a:spcBef>
              <a:buClr>
                <a:schemeClr val="tx1"/>
              </a:buClr>
              <a:buFont typeface="Arial" panose="020B0604020202020204" pitchFamily="34" charset="0"/>
              <a:buChar char="•"/>
              <a:defRPr sz="1800"/>
            </a:lvl2pPr>
            <a:lvl3pPr marL="720000" indent="-342900">
              <a:lnSpc>
                <a:spcPct val="100000"/>
              </a:lnSpc>
              <a:spcBef>
                <a:spcPts val="400"/>
              </a:spcBef>
              <a:buFont typeface="Arial" panose="020B0604020202020204" pitchFamily="34" charset="0"/>
              <a:buChar char="‒"/>
              <a:defRPr sz="1600"/>
            </a:lvl3pPr>
            <a:lvl4pPr marL="1044000" indent="-342000">
              <a:lnSpc>
                <a:spcPct val="100000"/>
              </a:lnSpc>
              <a:spcBef>
                <a:spcPts val="400"/>
              </a:spcBef>
              <a:buFont typeface="Wingdings" panose="05000000000000000000" pitchFamily="2" charset="2"/>
              <a:buChar char="§"/>
              <a:defRPr sz="1400"/>
            </a:lvl4pPr>
            <a:lvl5pPr marL="1368000" indent="-342000">
              <a:lnSpc>
                <a:spcPct val="100000"/>
              </a:lnSpc>
              <a:spcBef>
                <a:spcPts val="400"/>
              </a:spcBef>
              <a:buFont typeface="Courier New" panose="02070309020205020404" pitchFamily="49" charset="0"/>
              <a:buChar char="o"/>
              <a:defRPr sz="1200"/>
            </a:lvl5pPr>
          </a:lstStyle>
          <a:p>
            <a:pPr lvl="0"/>
            <a:r>
              <a:rPr lang="en-US"/>
              <a:t>Edit Master text styles, 20pt</a:t>
            </a:r>
          </a:p>
          <a:p>
            <a:pPr lvl="1"/>
            <a:r>
              <a:rPr lang="en-US"/>
              <a:t>Second level, 18pt</a:t>
            </a:r>
          </a:p>
          <a:p>
            <a:pPr lvl="2"/>
            <a:r>
              <a:rPr lang="en-US"/>
              <a:t>Third level, 16pt</a:t>
            </a:r>
          </a:p>
          <a:p>
            <a:pPr lvl="3"/>
            <a:r>
              <a:rPr lang="en-US"/>
              <a:t>Fourth level, 14pt</a:t>
            </a:r>
          </a:p>
          <a:p>
            <a:pPr lvl="4"/>
            <a:r>
              <a:rPr lang="en-US"/>
              <a:t>Fifth level, 12pt</a:t>
            </a:r>
          </a:p>
        </p:txBody>
      </p:sp>
    </p:spTree>
    <p:extLst>
      <p:ext uri="{BB962C8B-B14F-4D97-AF65-F5344CB8AC3E}">
        <p14:creationId xmlns:p14="http://schemas.microsoft.com/office/powerpoint/2010/main" val="421374635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05546121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B1CB45C-9C5F-9C47-4118-6C3DD2187283}"/>
              </a:ext>
            </a:extLst>
          </p:cNvPr>
          <p:cNvGraphicFramePr>
            <a:graphicFrameLocks noChangeAspect="1"/>
          </p:cNvGraphicFramePr>
          <p:nvPr userDrawn="1">
            <p:custDataLst>
              <p:tags r:id="rId1"/>
            </p:custDataLst>
            <p:extLst>
              <p:ext uri="{D42A27DB-BD31-4B8C-83A1-F6EECF244321}">
                <p14:modId xmlns:p14="http://schemas.microsoft.com/office/powerpoint/2010/main" val="179271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1B1CB45C-9C5F-9C47-4118-6C3DD21872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353174"/>
          </a:xfrm>
        </p:spPr>
        <p:txBody>
          <a:bodyPr vert="horz" wrap="square" anchor="t">
            <a:spAutoFit/>
          </a:bodyPr>
          <a:lstStyle>
            <a:lvl1pPr>
              <a:lnSpc>
                <a:spcPct val="80000"/>
              </a:lnSpc>
              <a:defRPr sz="2800">
                <a:solidFill>
                  <a:schemeClr val="tx1"/>
                </a:solidFill>
              </a:defRPr>
            </a:lvl1pPr>
          </a:lstStyle>
          <a:p>
            <a:r>
              <a:rPr lang="en-US"/>
              <a:t>Click to edit Master title style</a:t>
            </a:r>
          </a:p>
        </p:txBody>
      </p:sp>
    </p:spTree>
    <p:extLst>
      <p:ext uri="{BB962C8B-B14F-4D97-AF65-F5344CB8AC3E}">
        <p14:creationId xmlns:p14="http://schemas.microsoft.com/office/powerpoint/2010/main" val="8320313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7206899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337981" y="495300"/>
            <a:ext cx="6096000" cy="1495346"/>
          </a:xfrm>
          <a:prstGeom prst="rect">
            <a:avLst/>
          </a:prstGeom>
        </p:spPr>
        <p:txBody>
          <a:bodyPr lIns="0" tIns="0" rIns="0" bIns="0">
            <a:spAutoFit/>
          </a:bodyPr>
          <a:lstStyle/>
          <a:p>
            <a:pPr>
              <a:lnSpc>
                <a:spcPct val="80000"/>
              </a:lnSpc>
            </a:pPr>
            <a:r>
              <a:rPr kumimoji="0" lang="en-US" sz="6000" b="0" i="0" u="none" strike="noStrike" kern="1200" cap="all" spc="-300" normalizeH="0" baseline="0" noProof="0">
                <a:ln>
                  <a:noFill/>
                </a:ln>
                <a:solidFill>
                  <a:schemeClr val="bg1"/>
                </a:solidFill>
                <a:effectLst/>
                <a:uLnTx/>
                <a:uFillTx/>
                <a:latin typeface="+mj-lt"/>
                <a:ea typeface="+mj-ea"/>
                <a:cs typeface="+mj-cs"/>
              </a:rPr>
              <a:t>THANK</a:t>
            </a:r>
            <a:br>
              <a:rPr kumimoji="0" lang="en-US" sz="6000" b="0" i="0" u="none" strike="noStrike" kern="1200" cap="all" spc="-300" normalizeH="0" baseline="0" noProof="0">
                <a:ln>
                  <a:noFill/>
                </a:ln>
                <a:solidFill>
                  <a:schemeClr val="bg1"/>
                </a:solidFill>
                <a:effectLst/>
                <a:uLnTx/>
                <a:uFillTx/>
                <a:latin typeface="+mj-lt"/>
                <a:ea typeface="+mj-ea"/>
                <a:cs typeface="+mj-cs"/>
              </a:rPr>
            </a:br>
            <a:r>
              <a:rPr kumimoji="0" lang="en-US" sz="6000" b="0" i="0" u="none" strike="noStrike" kern="1200" cap="all" spc="-300" normalizeH="0" baseline="0" noProof="0">
                <a:ln>
                  <a:noFill/>
                </a:ln>
                <a:solidFill>
                  <a:schemeClr val="bg1"/>
                </a:solidFill>
                <a:effectLst/>
                <a:uLnTx/>
                <a:uFillTx/>
                <a:latin typeface="+mj-lt"/>
                <a:ea typeface="+mj-ea"/>
                <a:cs typeface="+mj-cs"/>
              </a:rPr>
              <a:t>YOU</a:t>
            </a:r>
            <a:endParaRPr lang="en-US" sz="6000" spc="-300">
              <a:solidFill>
                <a:schemeClr val="bg1"/>
              </a:solidFill>
              <a:latin typeface="+mj-lt"/>
            </a:endParaRPr>
          </a:p>
        </p:txBody>
      </p:sp>
      <p:pic>
        <p:nvPicPr>
          <p:cNvPr id="6" name="Graphic 5">
            <a:extLst>
              <a:ext uri="{FF2B5EF4-FFF2-40B4-BE49-F238E27FC236}">
                <a16:creationId xmlns:a16="http://schemas.microsoft.com/office/drawing/2014/main" id="{4F6FEA1A-AE26-42F5-9A53-C2D5C631EE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0560" y="6137552"/>
            <a:ext cx="1753669" cy="327979"/>
          </a:xfrm>
          <a:prstGeom prst="rect">
            <a:avLst/>
          </a:prstGeom>
        </p:spPr>
      </p:pic>
    </p:spTree>
    <p:extLst>
      <p:ext uri="{BB962C8B-B14F-4D97-AF65-F5344CB8AC3E}">
        <p14:creationId xmlns:p14="http://schemas.microsoft.com/office/powerpoint/2010/main" val="1389658035"/>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a:xfrm>
            <a:off x="11199755" y="6480164"/>
            <a:ext cx="496945" cy="237617"/>
          </a:xfrm>
          <a:prstGeom prst="rect">
            <a:avLst/>
          </a:prstGeom>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5102604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5515627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2079577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299" y="6480164"/>
            <a:ext cx="5600702" cy="237617"/>
          </a:xfrm>
          <a:prstGeom prst="rect">
            <a:avLst/>
          </a:prstGeom>
        </p:spPr>
        <p:txBody>
          <a:bodyPr/>
          <a:lstStyle>
            <a:lvl1pPr>
              <a:defRPr sz="1000" b="0" i="0">
                <a:latin typeface="Arial" panose="020B0604020202020204" pitchFamily="34" charset="0"/>
              </a:defRPr>
            </a:lvl1p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a:xfrm>
            <a:off x="11199755" y="6480164"/>
            <a:ext cx="496945" cy="237617"/>
          </a:xfrm>
          <a:prstGeom prst="rect">
            <a:avLst/>
          </a:prstGeom>
        </p:spPr>
        <p:txBody>
          <a:bodyPr/>
          <a:lstStyle>
            <a:lvl1pPr>
              <a:defRPr sz="1600" b="0" i="0">
                <a:latin typeface="Arial" panose="020B0604020202020204" pitchFamily="34" charset="0"/>
              </a:defRPr>
            </a:lvl1pPr>
          </a:lstStyle>
          <a:p>
            <a:pPr algn="ctr" defTabSz="412750" hangingPunct="0"/>
            <a:fld id="{86CB4B4D-7CA3-9044-876B-883B54F8677D}" type="slidenum">
              <a:rPr lang="en-US" kern="0" smtClean="0">
                <a:solidFill>
                  <a:srgbClr val="000000"/>
                </a:solidFill>
                <a:sym typeface="Helvetica Light"/>
              </a:rPr>
              <a:pPr algn="ctr" defTabSz="412750" hangingPunct="0"/>
              <a:t>‹#›</a:t>
            </a:fld>
            <a:endParaRPr lang="en-US" kern="0">
              <a:solidFill>
                <a:srgbClr val="000000"/>
              </a:solidFill>
              <a:sym typeface="Helvetica Light"/>
            </a:endParaRPr>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3574519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Agenda_Ligh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823FA606-6064-3440-AC0D-95640451273A}"/>
              </a:ext>
            </a:extLst>
          </p:cNvPr>
          <p:cNvSpPr>
            <a:spLocks noGrp="1"/>
          </p:cNvSpPr>
          <p:nvPr>
            <p:ph type="title" hasCustomPrompt="1"/>
          </p:nvPr>
        </p:nvSpPr>
        <p:spPr>
          <a:xfrm>
            <a:off x="681701" y="582723"/>
            <a:ext cx="10515600" cy="491222"/>
          </a:xfrm>
          <a:prstGeom prst="rect">
            <a:avLst/>
          </a:prstGeom>
        </p:spPr>
        <p:txBody>
          <a:bodyPr vert="horz" lIns="91440" tIns="45720" rIns="91440" bIns="45720" rtlCol="0" anchor="t">
            <a:noAutofit/>
          </a:bodyPr>
          <a:lstStyle>
            <a:lvl1pPr>
              <a:lnSpc>
                <a:spcPts val="2940"/>
              </a:lnSpc>
              <a:defRPr sz="3000"/>
            </a:lvl1pPr>
          </a:lstStyle>
          <a:p>
            <a:r>
              <a:rPr lang="en-US"/>
              <a:t>AGENDA</a:t>
            </a:r>
          </a:p>
        </p:txBody>
      </p:sp>
      <p:sp>
        <p:nvSpPr>
          <p:cNvPr id="6" name="Text Placeholder 5">
            <a:extLst>
              <a:ext uri="{FF2B5EF4-FFF2-40B4-BE49-F238E27FC236}">
                <a16:creationId xmlns:a16="http://schemas.microsoft.com/office/drawing/2014/main" id="{09877B25-F020-6149-A486-F09C9E048F99}"/>
              </a:ext>
            </a:extLst>
          </p:cNvPr>
          <p:cNvSpPr>
            <a:spLocks noGrp="1"/>
          </p:cNvSpPr>
          <p:nvPr>
            <p:ph type="body" sz="quarter" idx="10"/>
          </p:nvPr>
        </p:nvSpPr>
        <p:spPr>
          <a:xfrm>
            <a:off x="837345" y="1707356"/>
            <a:ext cx="4052887" cy="3443288"/>
          </a:xfrm>
        </p:spPr>
        <p:txBody>
          <a:bodyPr/>
          <a:lstStyle>
            <a:lvl1pPr marL="342900" indent="-342900">
              <a:buClr>
                <a:srgbClr val="EE3124"/>
              </a:buClr>
              <a:buFont typeface="+mj-lt"/>
              <a:buAutoNum type="arabicPeriod"/>
              <a:defRPr/>
            </a:lvl1pPr>
            <a:lvl2pPr marL="800100" indent="-342900">
              <a:buClr>
                <a:srgbClr val="EE3124"/>
              </a:buClr>
              <a:buFont typeface="+mj-lt"/>
              <a:buAutoNum type="arabicPeriod"/>
              <a:defRPr/>
            </a:lvl2pPr>
            <a:lvl3pPr marL="1257300" indent="-342900">
              <a:buClr>
                <a:srgbClr val="EE3124"/>
              </a:buClr>
              <a:buFont typeface="+mj-lt"/>
              <a:buAutoNum type="arabicPeriod"/>
              <a:defRPr/>
            </a:lvl3pPr>
            <a:lvl4pPr>
              <a:buClr>
                <a:srgbClr val="EE3124"/>
              </a:buClr>
              <a:buFont typeface="+mj-lt"/>
              <a:buAutoNum type="arabicPeriod"/>
              <a:defRPr/>
            </a:lvl4pPr>
            <a:lvl5pPr marL="2171700" indent="-342900">
              <a:buClr>
                <a:srgbClr val="EE3124"/>
              </a:buClr>
              <a:buFont typeface="+mj-lt"/>
              <a:buAutoNum type="arabicPeriod"/>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5">
            <a:extLst>
              <a:ext uri="{FF2B5EF4-FFF2-40B4-BE49-F238E27FC236}">
                <a16:creationId xmlns:a16="http://schemas.microsoft.com/office/drawing/2014/main" id="{3D3E21ED-A59E-5A4A-A530-3BCB318B214A}"/>
              </a:ext>
            </a:extLst>
          </p:cNvPr>
          <p:cNvSpPr>
            <a:spLocks noGrp="1"/>
          </p:cNvSpPr>
          <p:nvPr>
            <p:ph type="body" sz="quarter" idx="11"/>
          </p:nvPr>
        </p:nvSpPr>
        <p:spPr>
          <a:xfrm>
            <a:off x="5007269" y="1707356"/>
            <a:ext cx="4052887" cy="3443288"/>
          </a:xfrm>
        </p:spPr>
        <p:txBody>
          <a:bodyPr/>
          <a:lstStyle>
            <a:lvl1pPr marL="342900" indent="-342900">
              <a:buClr>
                <a:srgbClr val="EE3124"/>
              </a:buClr>
              <a:buFont typeface="+mj-lt"/>
              <a:buAutoNum type="arabicPeriod" startAt="4"/>
              <a:defRPr/>
            </a:lvl1pPr>
            <a:lvl2pPr marL="800100" indent="-342900">
              <a:buClr>
                <a:srgbClr val="EE3124"/>
              </a:buClr>
              <a:buFont typeface="+mj-lt"/>
              <a:buAutoNum type="arabicPeriod" startAt="4"/>
              <a:defRPr/>
            </a:lvl2pPr>
            <a:lvl3pPr marL="1257300" indent="-342900">
              <a:buClr>
                <a:srgbClr val="EE3124"/>
              </a:buClr>
              <a:buFont typeface="+mj-lt"/>
              <a:buAutoNum type="arabicPeriod" startAt="4"/>
              <a:defRPr/>
            </a:lvl3pPr>
            <a:lvl4pPr marL="1600200" indent="-228600">
              <a:buClr>
                <a:srgbClr val="EE3124"/>
              </a:buClr>
              <a:buFont typeface="+mj-lt"/>
              <a:buAutoNum type="arabicPeriod" startAt="4"/>
              <a:defRPr/>
            </a:lvl4pPr>
            <a:lvl5pPr marL="2171700" indent="-342900">
              <a:buClr>
                <a:srgbClr val="EE3124"/>
              </a:buClr>
              <a:buFont typeface="+mj-lt"/>
              <a:buAutoNum type="arabicPeriod" startAt="4"/>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Slide Number Placeholder 5">
            <a:extLst>
              <a:ext uri="{FF2B5EF4-FFF2-40B4-BE49-F238E27FC236}">
                <a16:creationId xmlns:a16="http://schemas.microsoft.com/office/drawing/2014/main" id="{CBEFDE32-1B3A-7E4C-BDE4-CAA6639E2592}"/>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lvl1pPr algn="r">
              <a:defRPr sz="1000" b="0" i="0">
                <a:solidFill>
                  <a:schemeClr val="bg2">
                    <a:lumMod val="75000"/>
                  </a:schemeClr>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Tree>
    <p:extLst>
      <p:ext uri="{BB962C8B-B14F-4D97-AF65-F5344CB8AC3E}">
        <p14:creationId xmlns:p14="http://schemas.microsoft.com/office/powerpoint/2010/main" val="1159286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2748077704"/>
      </p:ext>
    </p:extLst>
  </p:cSld>
  <p:clrMapOvr>
    <a:masterClrMapping/>
  </p:clrMapOvr>
  <p:extLst>
    <p:ext uri="{DCECCB84-F9BA-43D5-87BE-67443E8EF086}">
      <p15:sldGuideLst xmlns:p15="http://schemas.microsoft.com/office/powerpoint/2012/main">
        <p15:guide id="1" orient="horz" pos="3072" userDrawn="1">
          <p15:clr>
            <a:srgbClr val="FBAE40"/>
          </p15:clr>
        </p15:guide>
        <p15:guide id="2" pos="5592">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9511406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2_Photos_&amp;_Text">
    <p:spTree>
      <p:nvGrpSpPr>
        <p:cNvPr id="1" name=""/>
        <p:cNvGrpSpPr/>
        <p:nvPr/>
      </p:nvGrpSpPr>
      <p:grpSpPr>
        <a:xfrm>
          <a:off x="0" y="0"/>
          <a:ext cx="0" cy="0"/>
          <a:chOff x="0" y="0"/>
          <a:chExt cx="0" cy="0"/>
        </a:xfrm>
      </p:grpSpPr>
      <p:sp>
        <p:nvSpPr>
          <p:cNvPr id="33" name="Text Placeholder 20">
            <a:extLst>
              <a:ext uri="{FF2B5EF4-FFF2-40B4-BE49-F238E27FC236}">
                <a16:creationId xmlns:a16="http://schemas.microsoft.com/office/drawing/2014/main" id="{64047ADD-2D74-0249-8206-47F0D5545994}"/>
              </a:ext>
            </a:extLst>
          </p:cNvPr>
          <p:cNvSpPr>
            <a:spLocks noGrp="1"/>
          </p:cNvSpPr>
          <p:nvPr>
            <p:ph type="body" sz="quarter" idx="17" hasCustomPrompt="1"/>
          </p:nvPr>
        </p:nvSpPr>
        <p:spPr>
          <a:xfrm>
            <a:off x="2142291" y="4133978"/>
            <a:ext cx="3504434" cy="535737"/>
          </a:xfrm>
        </p:spPr>
        <p:txBody>
          <a:bodyPr>
            <a:noAutofit/>
          </a:bodyPr>
          <a:lstStyle>
            <a:lvl1pPr marL="0" indent="0">
              <a:lnSpc>
                <a:spcPts val="1740"/>
              </a:lnSpc>
              <a:buFontTx/>
              <a:buNone/>
              <a:defRPr sz="1600"/>
            </a:lvl1pPr>
            <a:lvl2pPr marL="182880">
              <a:defRPr/>
            </a:lvl2pPr>
            <a:lvl3pPr marL="182880">
              <a:defRPr/>
            </a:lvl3pPr>
            <a:lvl4pPr marL="182880" indent="-228600">
              <a:buFont typeface="System Font Regular"/>
              <a:buChar char="-"/>
              <a:defRPr/>
            </a:lvl4pPr>
            <a:lvl5pPr marL="2057400" indent="-228600">
              <a:buFont typeface="System Font Regular"/>
              <a:buChar char="-"/>
              <a:defRPr/>
            </a:lvl5pPr>
          </a:lstStyle>
          <a:p>
            <a:pPr lvl="0"/>
            <a:r>
              <a:rPr lang="en-US"/>
              <a:t>CLICK TO EDIT MASTER TEXT STYLES ALL CAPS</a:t>
            </a:r>
          </a:p>
        </p:txBody>
      </p:sp>
      <p:sp>
        <p:nvSpPr>
          <p:cNvPr id="34" name="Text Placeholder 20">
            <a:extLst>
              <a:ext uri="{FF2B5EF4-FFF2-40B4-BE49-F238E27FC236}">
                <a16:creationId xmlns:a16="http://schemas.microsoft.com/office/drawing/2014/main" id="{D6B738E5-00AD-1342-84B3-84E2F9BFFD00}"/>
              </a:ext>
            </a:extLst>
          </p:cNvPr>
          <p:cNvSpPr>
            <a:spLocks noGrp="1"/>
          </p:cNvSpPr>
          <p:nvPr>
            <p:ph type="body" sz="quarter" idx="19" hasCustomPrompt="1"/>
          </p:nvPr>
        </p:nvSpPr>
        <p:spPr>
          <a:xfrm>
            <a:off x="6361807" y="4133978"/>
            <a:ext cx="3504434" cy="535737"/>
          </a:xfrm>
        </p:spPr>
        <p:txBody>
          <a:bodyPr>
            <a:noAutofit/>
          </a:bodyPr>
          <a:lstStyle>
            <a:lvl1pPr marL="0" indent="0">
              <a:lnSpc>
                <a:spcPts val="1740"/>
              </a:lnSpc>
              <a:buFontTx/>
              <a:buNone/>
              <a:defRPr sz="1600"/>
            </a:lvl1pPr>
            <a:lvl2pPr marL="182880">
              <a:defRPr/>
            </a:lvl2pPr>
            <a:lvl3pPr marL="182880">
              <a:defRPr/>
            </a:lvl3pPr>
            <a:lvl4pPr marL="182880" indent="-228600">
              <a:buFont typeface="System Font Regular"/>
              <a:buChar char="-"/>
              <a:defRPr/>
            </a:lvl4pPr>
            <a:lvl5pPr marL="2057400" indent="-228600">
              <a:buFont typeface="System Font Regular"/>
              <a:buChar char="-"/>
              <a:defRPr/>
            </a:lvl5pPr>
          </a:lstStyle>
          <a:p>
            <a:pPr lvl="0"/>
            <a:r>
              <a:rPr lang="en-US"/>
              <a:t>CLICK TO EDIT MASTER TEXT STYLES ALL CAPS</a:t>
            </a:r>
          </a:p>
        </p:txBody>
      </p:sp>
      <p:sp>
        <p:nvSpPr>
          <p:cNvPr id="43" name="Text Placeholder 42">
            <a:extLst>
              <a:ext uri="{FF2B5EF4-FFF2-40B4-BE49-F238E27FC236}">
                <a16:creationId xmlns:a16="http://schemas.microsoft.com/office/drawing/2014/main" id="{E9BFE4D7-0F16-2E42-B853-BFE23E712F4F}"/>
              </a:ext>
            </a:extLst>
          </p:cNvPr>
          <p:cNvSpPr>
            <a:spLocks noGrp="1"/>
          </p:cNvSpPr>
          <p:nvPr>
            <p:ph type="body" sz="quarter" idx="27" hasCustomPrompt="1"/>
          </p:nvPr>
        </p:nvSpPr>
        <p:spPr>
          <a:xfrm>
            <a:off x="2141890" y="4681214"/>
            <a:ext cx="3504960" cy="1421774"/>
          </a:xfrm>
        </p:spPr>
        <p:txBody>
          <a:bodyPr>
            <a:noAutofit/>
          </a:bodyPr>
          <a:lstStyle>
            <a:lvl1pPr marL="0" indent="0">
              <a:lnSpc>
                <a:spcPts val="1690"/>
              </a:lnSpc>
              <a:buFontTx/>
              <a:buNone/>
              <a:defRPr sz="1400" b="0" i="0">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 body copy Arial Regular 14pt</a:t>
            </a:r>
          </a:p>
        </p:txBody>
      </p:sp>
      <p:sp>
        <p:nvSpPr>
          <p:cNvPr id="44" name="Text Placeholder 42">
            <a:extLst>
              <a:ext uri="{FF2B5EF4-FFF2-40B4-BE49-F238E27FC236}">
                <a16:creationId xmlns:a16="http://schemas.microsoft.com/office/drawing/2014/main" id="{9F3942F3-AA04-A345-BDDD-79D8AFFC85BC}"/>
              </a:ext>
            </a:extLst>
          </p:cNvPr>
          <p:cNvSpPr>
            <a:spLocks noGrp="1"/>
          </p:cNvSpPr>
          <p:nvPr>
            <p:ph type="body" sz="quarter" idx="28" hasCustomPrompt="1"/>
          </p:nvPr>
        </p:nvSpPr>
        <p:spPr>
          <a:xfrm>
            <a:off x="6359296" y="4681214"/>
            <a:ext cx="3504960" cy="1421774"/>
          </a:xfrm>
        </p:spPr>
        <p:txBody>
          <a:bodyPr>
            <a:noAutofit/>
          </a:bodyPr>
          <a:lstStyle>
            <a:lvl1pPr marL="0" indent="0">
              <a:lnSpc>
                <a:spcPts val="1690"/>
              </a:lnSpc>
              <a:buFontTx/>
              <a:buNone/>
              <a:defRPr sz="1400" b="0" i="0">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 body copy Arial Regular 14pt</a:t>
            </a:r>
          </a:p>
        </p:txBody>
      </p:sp>
      <p:sp>
        <p:nvSpPr>
          <p:cNvPr id="16" name="Picture Placeholder 2">
            <a:extLst>
              <a:ext uri="{FF2B5EF4-FFF2-40B4-BE49-F238E27FC236}">
                <a16:creationId xmlns:a16="http://schemas.microsoft.com/office/drawing/2014/main" id="{131992CE-7899-004E-B826-FF76C6EEB868}"/>
              </a:ext>
            </a:extLst>
          </p:cNvPr>
          <p:cNvSpPr>
            <a:spLocks noGrp="1"/>
          </p:cNvSpPr>
          <p:nvPr>
            <p:ph type="pic" idx="1"/>
          </p:nvPr>
        </p:nvSpPr>
        <p:spPr>
          <a:xfrm>
            <a:off x="2231341" y="1887558"/>
            <a:ext cx="3504435" cy="2030681"/>
          </a:xfrm>
        </p:spPr>
        <p:txBody>
          <a:bodyPr>
            <a:normAutofit/>
          </a:bodyPr>
          <a:lstStyle>
            <a:lvl1pPr marL="0" indent="0">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3D6B6E57-6AEB-5C48-86CF-233F2F44FDC9}"/>
              </a:ext>
            </a:extLst>
          </p:cNvPr>
          <p:cNvSpPr>
            <a:spLocks noGrp="1"/>
          </p:cNvSpPr>
          <p:nvPr>
            <p:ph type="pic" idx="30"/>
          </p:nvPr>
        </p:nvSpPr>
        <p:spPr>
          <a:xfrm>
            <a:off x="6458960" y="1887558"/>
            <a:ext cx="3504435" cy="2030681"/>
          </a:xfrm>
        </p:spPr>
        <p:txBody>
          <a:bodyPr>
            <a:normAutofit/>
          </a:bodyPr>
          <a:lstStyle>
            <a:lvl1pPr marL="0" indent="0">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20" name="Title Placeholder 1">
            <a:extLst>
              <a:ext uri="{FF2B5EF4-FFF2-40B4-BE49-F238E27FC236}">
                <a16:creationId xmlns:a16="http://schemas.microsoft.com/office/drawing/2014/main" id="{C126780A-330C-464A-A893-7E61CE8826AE}"/>
              </a:ext>
            </a:extLst>
          </p:cNvPr>
          <p:cNvSpPr>
            <a:spLocks noGrp="1"/>
          </p:cNvSpPr>
          <p:nvPr>
            <p:ph type="title" hasCustomPrompt="1"/>
          </p:nvPr>
        </p:nvSpPr>
        <p:spPr>
          <a:xfrm>
            <a:off x="684945" y="590941"/>
            <a:ext cx="10515600" cy="491222"/>
          </a:xfrm>
          <a:prstGeom prst="rect">
            <a:avLst/>
          </a:prstGeom>
        </p:spPr>
        <p:txBody>
          <a:bodyPr vert="horz" lIns="91440" tIns="45720" rIns="91440" bIns="45720" rtlCol="0" anchor="t">
            <a:noAutofit/>
          </a:bodyPr>
          <a:lstStyle>
            <a:lvl1pPr>
              <a:lnSpc>
                <a:spcPts val="2940"/>
              </a:lnSpc>
              <a:defRPr/>
            </a:lvl1pPr>
          </a:lstStyle>
          <a:p>
            <a:r>
              <a:rPr lang="en-US"/>
              <a:t>CLICK TO EDIT MASTER TITLE STYLE</a:t>
            </a:r>
          </a:p>
        </p:txBody>
      </p:sp>
      <p:sp>
        <p:nvSpPr>
          <p:cNvPr id="21" name="Text Placeholder 5">
            <a:extLst>
              <a:ext uri="{FF2B5EF4-FFF2-40B4-BE49-F238E27FC236}">
                <a16:creationId xmlns:a16="http://schemas.microsoft.com/office/drawing/2014/main" id="{A9A81627-D783-3248-926D-D4DEDEA85D0D}"/>
              </a:ext>
            </a:extLst>
          </p:cNvPr>
          <p:cNvSpPr>
            <a:spLocks noGrp="1"/>
          </p:cNvSpPr>
          <p:nvPr>
            <p:ph type="body" sz="quarter" idx="26" hasCustomPrompt="1"/>
          </p:nvPr>
        </p:nvSpPr>
        <p:spPr>
          <a:xfrm>
            <a:off x="684213" y="979422"/>
            <a:ext cx="10515600" cy="418461"/>
          </a:xfrm>
        </p:spPr>
        <p:txBody>
          <a:bodyPr>
            <a:noAutofit/>
          </a:bodyPr>
          <a:lstStyle>
            <a:lvl1pPr marL="0" indent="0">
              <a:buNone/>
              <a:defRPr sz="1500" b="0" i="0">
                <a:solidFill>
                  <a:schemeClr val="bg2">
                    <a:lumMod val="25000"/>
                  </a:schemeClr>
                </a:solidFill>
                <a:latin typeface="Arial" panose="020B0604020202020204" pitchFamily="34" charset="0"/>
                <a:cs typeface="Arial" panose="020B0604020202020204" pitchFamily="34" charset="0"/>
              </a:defRPr>
            </a:lvl1pPr>
          </a:lstStyle>
          <a:p>
            <a:pPr lvl="0"/>
            <a:r>
              <a:rPr lang="en-US" b="0" i="0">
                <a:latin typeface="Arial" panose="020B0604020202020204" pitchFamily="34" charset="0"/>
                <a:cs typeface="Arial" panose="020B0604020202020204" pitchFamily="34" charset="0"/>
              </a:rPr>
              <a:t>Sub Header Text Optional, Arial Regular 15pt</a:t>
            </a:r>
            <a:endParaRPr lang="en-US"/>
          </a:p>
        </p:txBody>
      </p:sp>
      <p:sp>
        <p:nvSpPr>
          <p:cNvPr id="12" name="Slide Number Placeholder 5">
            <a:extLst>
              <a:ext uri="{FF2B5EF4-FFF2-40B4-BE49-F238E27FC236}">
                <a16:creationId xmlns:a16="http://schemas.microsoft.com/office/drawing/2014/main" id="{2914BBD8-C807-3542-AF73-DBCA83C559C1}"/>
              </a:ext>
            </a:extLst>
          </p:cNvPr>
          <p:cNvSpPr>
            <a:spLocks noGrp="1"/>
          </p:cNvSpPr>
          <p:nvPr>
            <p:ph type="sldNum" sz="quarter" idx="4"/>
          </p:nvPr>
        </p:nvSpPr>
        <p:spPr>
          <a:xfrm>
            <a:off x="11673039" y="45719"/>
            <a:ext cx="425227" cy="283771"/>
          </a:xfrm>
          <a:prstGeom prst="rect">
            <a:avLst/>
          </a:prstGeom>
        </p:spPr>
        <p:txBody>
          <a:bodyPr vert="horz" lIns="91440" tIns="45720" rIns="91440" bIns="45720" rtlCol="0" anchor="ctr"/>
          <a:lstStyle>
            <a:lvl1pPr algn="r">
              <a:defRPr sz="1000" b="0" i="0">
                <a:solidFill>
                  <a:schemeClr val="bg2">
                    <a:lumMod val="75000"/>
                  </a:schemeClr>
                </a:solidFill>
                <a:latin typeface="Arial" panose="020B0604020202020204" pitchFamily="34" charset="0"/>
                <a:cs typeface="Arial" panose="020B0604020202020204" pitchFamily="34" charset="0"/>
              </a:defRPr>
            </a:lvl1pPr>
          </a:lstStyle>
          <a:p>
            <a:fld id="{BA66E354-A1E5-D643-A18C-204373C670DA}" type="slidenum">
              <a:rPr lang="en-US" smtClean="0"/>
              <a:pPr/>
              <a:t>‹#›</a:t>
            </a:fld>
            <a:endParaRPr lang="en-US"/>
          </a:p>
        </p:txBody>
      </p:sp>
      <p:sp>
        <p:nvSpPr>
          <p:cNvPr id="2" name="Rectangle 1">
            <a:extLst>
              <a:ext uri="{FF2B5EF4-FFF2-40B4-BE49-F238E27FC236}">
                <a16:creationId xmlns:a16="http://schemas.microsoft.com/office/drawing/2014/main" id="{B89273EA-B949-A869-CD75-2C3323A71800}"/>
              </a:ext>
            </a:extLst>
          </p:cNvPr>
          <p:cNvSpPr/>
          <p:nvPr userDrawn="1"/>
        </p:nvSpPr>
        <p:spPr>
          <a:xfrm>
            <a:off x="10503892" y="6062360"/>
            <a:ext cx="1381760" cy="5283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Shape&#10;&#10;Description automatically generated with medium confidence">
            <a:extLst>
              <a:ext uri="{FF2B5EF4-FFF2-40B4-BE49-F238E27FC236}">
                <a16:creationId xmlns:a16="http://schemas.microsoft.com/office/drawing/2014/main" id="{CCC46F0B-EB4E-E13D-2FAB-00AF6E045299}"/>
              </a:ext>
            </a:extLst>
          </p:cNvPr>
          <p:cNvPicPr>
            <a:picLocks noChangeAspect="1"/>
          </p:cNvPicPr>
          <p:nvPr userDrawn="1"/>
        </p:nvPicPr>
        <p:blipFill rotWithShape="1">
          <a:blip r:embed="rId2"/>
          <a:srcRect b="29303"/>
          <a:stretch/>
        </p:blipFill>
        <p:spPr>
          <a:xfrm>
            <a:off x="10430086" y="6092673"/>
            <a:ext cx="1408288" cy="467694"/>
          </a:xfrm>
          <a:prstGeom prst="rect">
            <a:avLst/>
          </a:prstGeom>
        </p:spPr>
      </p:pic>
      <p:sp>
        <p:nvSpPr>
          <p:cNvPr id="4" name="Rectangle 3">
            <a:extLst>
              <a:ext uri="{FF2B5EF4-FFF2-40B4-BE49-F238E27FC236}">
                <a16:creationId xmlns:a16="http://schemas.microsoft.com/office/drawing/2014/main" id="{860D57EB-E6B0-5934-C6D1-3EB65C4D77B0}"/>
              </a:ext>
            </a:extLst>
          </p:cNvPr>
          <p:cNvSpPr/>
          <p:nvPr userDrawn="1"/>
        </p:nvSpPr>
        <p:spPr>
          <a:xfrm>
            <a:off x="681700" y="6206179"/>
            <a:ext cx="2752379" cy="3541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6C3DD02-2200-D284-117E-EB64F0861052}"/>
              </a:ext>
            </a:extLst>
          </p:cNvPr>
          <p:cNvSpPr/>
          <p:nvPr userDrawn="1"/>
        </p:nvSpPr>
        <p:spPr>
          <a:xfrm>
            <a:off x="709411" y="6315903"/>
            <a:ext cx="2771913" cy="176972"/>
          </a:xfrm>
          <a:prstGeom prst="rect">
            <a:avLst/>
          </a:prstGeom>
        </p:spPr>
        <p:txBody>
          <a:bodyPr wrap="none">
            <a:spAutoFit/>
          </a:bodyPr>
          <a:lstStyle/>
          <a:p>
            <a:pPr>
              <a:defRPr/>
            </a:pPr>
            <a:r>
              <a:rPr lang="en-US" altLang="en-US" sz="550" b="0" i="0">
                <a:solidFill>
                  <a:schemeClr val="bg2">
                    <a:lumMod val="25000"/>
                  </a:schemeClr>
                </a:solidFill>
                <a:latin typeface="Arial" panose="020B0604020202020204" pitchFamily="34" charset="0"/>
                <a:cs typeface="Arial" panose="020B0604020202020204" pitchFamily="34" charset="0"/>
              </a:rPr>
              <a:t>Honeywell Confidential - © 2023 by Honeywell International Inc. All rights reserved. </a:t>
            </a:r>
          </a:p>
        </p:txBody>
      </p:sp>
    </p:spTree>
    <p:extLst>
      <p:ext uri="{BB962C8B-B14F-4D97-AF65-F5344CB8AC3E}">
        <p14:creationId xmlns:p14="http://schemas.microsoft.com/office/powerpoint/2010/main" val="37979376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6096000"/>
            <a:ext cx="12192000" cy="37665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10787751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Title and 3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4" name="Content Placeholder 2">
            <a:extLst>
              <a:ext uri="{FF2B5EF4-FFF2-40B4-BE49-F238E27FC236}">
                <a16:creationId xmlns:a16="http://schemas.microsoft.com/office/drawing/2014/main" id="{DE708FB4-25D8-5319-DC13-41FF278EA3FB}"/>
              </a:ext>
            </a:extLst>
          </p:cNvPr>
          <p:cNvSpPr>
            <a:spLocks noGrp="1"/>
          </p:cNvSpPr>
          <p:nvPr>
            <p:ph idx="1"/>
          </p:nvPr>
        </p:nvSpPr>
        <p:spPr>
          <a:xfrm>
            <a:off x="650875" y="1809750"/>
            <a:ext cx="3429000" cy="3878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E3CD8C11-85E5-CAF3-8BB1-064480BAC07A}"/>
              </a:ext>
            </a:extLst>
          </p:cNvPr>
          <p:cNvSpPr>
            <a:spLocks noGrp="1"/>
          </p:cNvSpPr>
          <p:nvPr>
            <p:ph idx="13"/>
          </p:nvPr>
        </p:nvSpPr>
        <p:spPr>
          <a:xfrm>
            <a:off x="4381534" y="1809750"/>
            <a:ext cx="3429000" cy="3878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36D0F0BE-6603-9A86-E19C-6E4EE74D28A2}"/>
              </a:ext>
            </a:extLst>
          </p:cNvPr>
          <p:cNvSpPr>
            <a:spLocks noGrp="1"/>
          </p:cNvSpPr>
          <p:nvPr>
            <p:ph idx="14"/>
          </p:nvPr>
        </p:nvSpPr>
        <p:spPr>
          <a:xfrm>
            <a:off x="8112124" y="1809750"/>
            <a:ext cx="3429000" cy="3878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25632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0378810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solidFill>
                  <a:srgbClr val="FFFFFF"/>
                </a:solidFill>
              </a:defRPr>
            </a:lvl1pPr>
          </a:lstStyle>
          <a:p>
            <a:pPr>
              <a:defRPr/>
            </a:pPr>
            <a:fld id="{BC6935E4-FDB6-4950-9258-4DFAB378F0D1}" type="slidenum">
              <a:rPr lang="en-US"/>
              <a:pPr>
                <a:defRPr/>
              </a:pPr>
              <a:t>‹#›</a:t>
            </a:fld>
            <a:endParaRPr lang="en-US"/>
          </a:p>
        </p:txBody>
      </p:sp>
      <p:sp>
        <p:nvSpPr>
          <p:cNvPr id="4" name="Footer Placeholder 3"/>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pPr>
              <a:defRPr/>
            </a:pPr>
            <a:r>
              <a:rPr lang="en-US"/>
              <a:t>Honeywell Internal</a:t>
            </a:r>
          </a:p>
        </p:txBody>
      </p:sp>
    </p:spTree>
    <p:extLst>
      <p:ext uri="{BB962C8B-B14F-4D97-AF65-F5344CB8AC3E}">
        <p14:creationId xmlns:p14="http://schemas.microsoft.com/office/powerpoint/2010/main" val="15823129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C9A3177-5314-4162-AEDA-FD50A4159376}"/>
              </a:ext>
            </a:extLst>
          </p:cNvPr>
          <p:cNvSpPr>
            <a:spLocks noGrp="1"/>
          </p:cNvSpPr>
          <p:nvPr>
            <p:ph type="body" sz="quarter" idx="13"/>
          </p:nvPr>
        </p:nvSpPr>
        <p:spPr>
          <a:xfrm>
            <a:off x="4953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4FCA8548-4236-4C23-A633-9F2F0E3BC296}"/>
              </a:ext>
            </a:extLst>
          </p:cNvPr>
          <p:cNvSpPr>
            <a:spLocks noGrp="1"/>
          </p:cNvSpPr>
          <p:nvPr>
            <p:ph type="body" sz="quarter" idx="14"/>
          </p:nvPr>
        </p:nvSpPr>
        <p:spPr>
          <a:xfrm>
            <a:off x="63246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564957"/>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2"/>
            <a:ext cx="12192000" cy="495299"/>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C6CCC7F8-42A2-41CE-A454-D4B73C6EFD34}"/>
              </a:ext>
            </a:extLst>
          </p:cNvPr>
          <p:cNvSpPr>
            <a:spLocks noGrp="1"/>
          </p:cNvSpPr>
          <p:nvPr>
            <p:ph idx="17" hasCustomPrompt="1"/>
          </p:nvPr>
        </p:nvSpPr>
        <p:spPr>
          <a:xfrm>
            <a:off x="358820" y="1273221"/>
            <a:ext cx="11446493" cy="404940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7074799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0C40C-9C06-159E-24E2-EB8C3AD576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82E5F8-E9AF-1288-842E-2E7E0D927FE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F84146-8ED2-F094-1427-90E29CF56417}"/>
              </a:ext>
            </a:extLst>
          </p:cNvPr>
          <p:cNvSpPr>
            <a:spLocks noGrp="1"/>
          </p:cNvSpPr>
          <p:nvPr>
            <p:ph type="dt" sz="half" idx="10"/>
          </p:nvPr>
        </p:nvSpPr>
        <p:spPr/>
        <p:txBody>
          <a:bodyPr/>
          <a:lstStyle/>
          <a:p>
            <a:fld id="{90336C89-1ABC-469D-B029-8DC4C2119B78}" type="datetimeFigureOut">
              <a:rPr lang="en-US" smtClean="0"/>
              <a:t>6/27/2025</a:t>
            </a:fld>
            <a:endParaRPr lang="en-US"/>
          </a:p>
        </p:txBody>
      </p:sp>
      <p:sp>
        <p:nvSpPr>
          <p:cNvPr id="5" name="Footer Placeholder 4">
            <a:extLst>
              <a:ext uri="{FF2B5EF4-FFF2-40B4-BE49-F238E27FC236}">
                <a16:creationId xmlns:a16="http://schemas.microsoft.com/office/drawing/2014/main" id="{E6124703-7495-4EA7-B488-63894F62F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BFDC21-F7FA-C473-AA5F-EE9BEFE2A834}"/>
              </a:ext>
            </a:extLst>
          </p:cNvPr>
          <p:cNvSpPr>
            <a:spLocks noGrp="1"/>
          </p:cNvSpPr>
          <p:nvPr>
            <p:ph type="sldNum" sz="quarter" idx="12"/>
          </p:nvPr>
        </p:nvSpPr>
        <p:spPr/>
        <p:txBody>
          <a:bodyPr/>
          <a:lstStyle/>
          <a:p>
            <a:fld id="{311AE37F-44C6-432F-9C01-5D18E88F47FA}" type="slidenum">
              <a:rPr lang="en-US" smtClean="0"/>
              <a:t>‹#›</a:t>
            </a:fld>
            <a:endParaRPr lang="en-US"/>
          </a:p>
        </p:txBody>
      </p:sp>
    </p:spTree>
    <p:extLst>
      <p:ext uri="{BB962C8B-B14F-4D97-AF65-F5344CB8AC3E}">
        <p14:creationId xmlns:p14="http://schemas.microsoft.com/office/powerpoint/2010/main" val="213899998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lank_Pag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82A2130-94FF-A242-B896-6D0038420441}"/>
              </a:ext>
            </a:extLst>
          </p:cNvPr>
          <p:cNvSpPr>
            <a:spLocks noGrp="1"/>
          </p:cNvSpPr>
          <p:nvPr>
            <p:ph type="title" hasCustomPrompt="1"/>
          </p:nvPr>
        </p:nvSpPr>
        <p:spPr>
          <a:xfrm>
            <a:off x="681701" y="582723"/>
            <a:ext cx="10515600" cy="491222"/>
          </a:xfrm>
          <a:prstGeom prst="rect">
            <a:avLst/>
          </a:prstGeom>
        </p:spPr>
        <p:txBody>
          <a:bodyPr vert="horz" lIns="91440" tIns="45720" rIns="91440" bIns="45720" rtlCol="0" anchor="t">
            <a:noAutofit/>
          </a:bodyPr>
          <a:lstStyle>
            <a:lvl1pPr>
              <a:lnSpc>
                <a:spcPts val="2940"/>
              </a:lnSpc>
              <a:defRPr sz="3000"/>
            </a:lvl1pPr>
          </a:lstStyle>
          <a:p>
            <a:r>
              <a:rPr lang="en-US"/>
              <a:t>AGENDA</a:t>
            </a:r>
          </a:p>
        </p:txBody>
      </p:sp>
      <p:sp>
        <p:nvSpPr>
          <p:cNvPr id="2" name="Slide Number Placeholder 5">
            <a:extLst>
              <a:ext uri="{FF2B5EF4-FFF2-40B4-BE49-F238E27FC236}">
                <a16:creationId xmlns:a16="http://schemas.microsoft.com/office/drawing/2014/main" id="{B0B0571A-9894-FD8A-F2A1-1E0EBDE39AB8}"/>
              </a:ext>
            </a:extLst>
          </p:cNvPr>
          <p:cNvSpPr>
            <a:spLocks noGrp="1"/>
          </p:cNvSpPr>
          <p:nvPr>
            <p:ph type="sldNum" sz="quarter" idx="4"/>
          </p:nvPr>
        </p:nvSpPr>
        <p:spPr>
          <a:xfrm>
            <a:off x="11615889" y="102870"/>
            <a:ext cx="425227" cy="283771"/>
          </a:xfrm>
          <a:prstGeom prst="rect">
            <a:avLst/>
          </a:prstGeom>
        </p:spPr>
        <p:txBody>
          <a:bodyPr vert="horz" lIns="0" tIns="0" rIns="0" bIns="0" rtlCol="0" anchor="ctr"/>
          <a:lstStyle>
            <a:lvl1pPr algn="r">
              <a:defRPr sz="900" b="0" i="0">
                <a:solidFill>
                  <a:schemeClr val="accent3"/>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900" b="0" i="0" u="none" strike="noStrike" kern="1200" cap="none" spc="0" normalizeH="0" baseline="0" noProof="0" smtClean="0">
                <a:ln>
                  <a:noFill/>
                </a:ln>
                <a:solidFill>
                  <a:srgbClr val="70707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70707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6696874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slideLayout" Target="../slideLayouts/slideLayout99.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tags" Target="../tags/tag15.xml"/><Relationship Id="rId5" Type="http://schemas.openxmlformats.org/officeDocument/2006/relationships/slideLayout" Target="../slideLayouts/slideLayout49.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theme" Target="../theme/theme2.xml"/><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59" Type="http://schemas.openxmlformats.org/officeDocument/2006/relationships/oleObject" Target="../embeddings/oleObject6.bin"/><Relationship Id="rId20" Type="http://schemas.openxmlformats.org/officeDocument/2006/relationships/slideLayout" Target="../slideLayouts/slideLayout64.xml"/><Relationship Id="rId41" Type="http://schemas.openxmlformats.org/officeDocument/2006/relationships/slideLayout" Target="../slideLayouts/slideLayout85.xml"/><Relationship Id="rId54" Type="http://schemas.openxmlformats.org/officeDocument/2006/relationships/slideLayout" Target="../slideLayouts/slideLayout98.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tags" Target="../tags/tag14.xml"/><Relationship Id="rId10" Type="http://schemas.openxmlformats.org/officeDocument/2006/relationships/slideLayout" Target="../slideLayouts/slideLayout54.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 Id="rId6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theme" Target="../theme/theme3.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45" Type="http://schemas.openxmlformats.org/officeDocument/2006/relationships/oleObject" Target="../embeddings/oleObject15.bin"/><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4" Type="http://schemas.openxmlformats.org/officeDocument/2006/relationships/tags" Target="../tags/tag33.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ags" Target="../tags/tag32.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 Id="rId46" Type="http://schemas.openxmlformats.org/officeDocument/2006/relationships/image" Target="../media/image20.emf"/><Relationship Id="rId20" Type="http://schemas.openxmlformats.org/officeDocument/2006/relationships/slideLayout" Target="../slideLayouts/slideLayout119.xml"/><Relationship Id="rId41" Type="http://schemas.openxmlformats.org/officeDocument/2006/relationships/slideLayout" Target="../slideLayouts/slideLayout14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50" Type="http://schemas.openxmlformats.org/officeDocument/2006/relationships/slideLayout" Target="../slideLayouts/slideLayout190.xml"/><Relationship Id="rId55" Type="http://schemas.openxmlformats.org/officeDocument/2006/relationships/tags" Target="../tags/tag34.xml"/><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9" Type="http://schemas.openxmlformats.org/officeDocument/2006/relationships/slideLayout" Target="../slideLayouts/slideLayout169.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3" Type="http://schemas.openxmlformats.org/officeDocument/2006/relationships/slideLayout" Target="../slideLayouts/slideLayout193.xml"/><Relationship Id="rId58" Type="http://schemas.openxmlformats.org/officeDocument/2006/relationships/image" Target="../media/image1.emf"/><Relationship Id="rId5" Type="http://schemas.openxmlformats.org/officeDocument/2006/relationships/slideLayout" Target="../slideLayouts/slideLayout145.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slideLayout" Target="../slideLayouts/slideLayout188.xml"/><Relationship Id="rId56" Type="http://schemas.openxmlformats.org/officeDocument/2006/relationships/tags" Target="../tags/tag35.xml"/><Relationship Id="rId8" Type="http://schemas.openxmlformats.org/officeDocument/2006/relationships/slideLayout" Target="../slideLayouts/slideLayout148.xml"/><Relationship Id="rId51" Type="http://schemas.openxmlformats.org/officeDocument/2006/relationships/slideLayout" Target="../slideLayouts/slideLayout191.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0" Type="http://schemas.openxmlformats.org/officeDocument/2006/relationships/slideLayout" Target="../slideLayouts/slideLayout160.xml"/><Relationship Id="rId41" Type="http://schemas.openxmlformats.org/officeDocument/2006/relationships/slideLayout" Target="../slideLayouts/slideLayout181.xml"/><Relationship Id="rId54" Type="http://schemas.openxmlformats.org/officeDocument/2006/relationships/theme" Target="../theme/theme4.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slideLayout" Target="../slideLayouts/slideLayout189.xml"/><Relationship Id="rId57" Type="http://schemas.openxmlformats.org/officeDocument/2006/relationships/oleObject" Target="../embeddings/oleObject1.bin"/><Relationship Id="rId10" Type="http://schemas.openxmlformats.org/officeDocument/2006/relationships/slideLayout" Target="../slideLayouts/slideLayout150.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52" Type="http://schemas.openxmlformats.org/officeDocument/2006/relationships/slideLayout" Target="../slideLayouts/slideLayout19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slideLayout" Target="../slideLayouts/slideLayout232.xml"/><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42" Type="http://schemas.openxmlformats.org/officeDocument/2006/relationships/slideLayout" Target="../slideLayouts/slideLayout235.xml"/><Relationship Id="rId47" Type="http://schemas.openxmlformats.org/officeDocument/2006/relationships/slideLayout" Target="../slideLayouts/slideLayout240.xml"/><Relationship Id="rId50" Type="http://schemas.openxmlformats.org/officeDocument/2006/relationships/slideLayout" Target="../slideLayouts/slideLayout243.xml"/><Relationship Id="rId55" Type="http://schemas.openxmlformats.org/officeDocument/2006/relationships/slideLayout" Target="../slideLayouts/slideLayout248.xml"/><Relationship Id="rId7" Type="http://schemas.openxmlformats.org/officeDocument/2006/relationships/slideLayout" Target="../slideLayouts/slideLayout200.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9" Type="http://schemas.openxmlformats.org/officeDocument/2006/relationships/slideLayout" Target="../slideLayouts/slideLayout222.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40" Type="http://schemas.openxmlformats.org/officeDocument/2006/relationships/slideLayout" Target="../slideLayouts/slideLayout233.xml"/><Relationship Id="rId45" Type="http://schemas.openxmlformats.org/officeDocument/2006/relationships/slideLayout" Target="../slideLayouts/slideLayout238.xml"/><Relationship Id="rId53" Type="http://schemas.openxmlformats.org/officeDocument/2006/relationships/slideLayout" Target="../slideLayouts/slideLayout246.xml"/><Relationship Id="rId58" Type="http://schemas.openxmlformats.org/officeDocument/2006/relationships/tags" Target="../tags/tag49.xml"/><Relationship Id="rId5" Type="http://schemas.openxmlformats.org/officeDocument/2006/relationships/slideLayout" Target="../slideLayouts/slideLayout198.xml"/><Relationship Id="rId19" Type="http://schemas.openxmlformats.org/officeDocument/2006/relationships/slideLayout" Target="../slideLayouts/slideLayout21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43" Type="http://schemas.openxmlformats.org/officeDocument/2006/relationships/slideLayout" Target="../slideLayouts/slideLayout236.xml"/><Relationship Id="rId48" Type="http://schemas.openxmlformats.org/officeDocument/2006/relationships/slideLayout" Target="../slideLayouts/slideLayout241.xml"/><Relationship Id="rId56" Type="http://schemas.openxmlformats.org/officeDocument/2006/relationships/theme" Target="../theme/theme5.xml"/><Relationship Id="rId8" Type="http://schemas.openxmlformats.org/officeDocument/2006/relationships/slideLayout" Target="../slideLayouts/slideLayout201.xml"/><Relationship Id="rId51" Type="http://schemas.openxmlformats.org/officeDocument/2006/relationships/slideLayout" Target="../slideLayouts/slideLayout244.xml"/><Relationship Id="rId3" Type="http://schemas.openxmlformats.org/officeDocument/2006/relationships/slideLayout" Target="../slideLayouts/slideLayout196.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slideLayout" Target="../slideLayouts/slideLayout231.xml"/><Relationship Id="rId46" Type="http://schemas.openxmlformats.org/officeDocument/2006/relationships/slideLayout" Target="../slideLayouts/slideLayout239.xml"/><Relationship Id="rId59" Type="http://schemas.openxmlformats.org/officeDocument/2006/relationships/oleObject" Target="../embeddings/oleObject1.bin"/><Relationship Id="rId20" Type="http://schemas.openxmlformats.org/officeDocument/2006/relationships/slideLayout" Target="../slideLayouts/slideLayout213.xml"/><Relationship Id="rId41" Type="http://schemas.openxmlformats.org/officeDocument/2006/relationships/slideLayout" Target="../slideLayouts/slideLayout234.xml"/><Relationship Id="rId54" Type="http://schemas.openxmlformats.org/officeDocument/2006/relationships/slideLayout" Target="../slideLayouts/slideLayout247.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49" Type="http://schemas.openxmlformats.org/officeDocument/2006/relationships/slideLayout" Target="../slideLayouts/slideLayout242.xml"/><Relationship Id="rId57" Type="http://schemas.openxmlformats.org/officeDocument/2006/relationships/tags" Target="../tags/tag48.xml"/><Relationship Id="rId10" Type="http://schemas.openxmlformats.org/officeDocument/2006/relationships/slideLayout" Target="../slideLayouts/slideLayout203.xml"/><Relationship Id="rId31" Type="http://schemas.openxmlformats.org/officeDocument/2006/relationships/slideLayout" Target="../slideLayouts/slideLayout224.xml"/><Relationship Id="rId44" Type="http://schemas.openxmlformats.org/officeDocument/2006/relationships/slideLayout" Target="../slideLayouts/slideLayout237.xml"/><Relationship Id="rId52" Type="http://schemas.openxmlformats.org/officeDocument/2006/relationships/slideLayout" Target="../slideLayouts/slideLayout245.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46"/>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47" imgH="348" progId="TCLayout.ActiveDocument.1">
                  <p:embed/>
                </p:oleObj>
              </mc:Choice>
              <mc:Fallback>
                <p:oleObj name="think-cell Slide" r:id="rId48"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47"/>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42900" y="422624"/>
            <a:ext cx="1146241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342900" y="1257300"/>
            <a:ext cx="11462413" cy="4378085"/>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99828"/>
            <a:ext cx="496945" cy="237617"/>
          </a:xfrm>
          <a:prstGeom prst="rect">
            <a:avLst/>
          </a:prstGeom>
        </p:spPr>
        <p:txBody>
          <a:bodyPr vert="horz" lIns="0" tIns="0" rIns="0" bIns="0" rtlCol="0" anchor="ctr">
            <a:noAutofit/>
          </a:bodyPr>
          <a:lstStyle>
            <a:lvl1pPr algn="r">
              <a:defRPr sz="800" b="0">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accent3"/>
                </a:solidFill>
                <a:latin typeface="+mn-lt"/>
                <a:cs typeface="Arial" panose="020B0604020202020204" pitchFamily="34" charset="0"/>
              </a:rPr>
              <a:t>© 2025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1961464670"/>
      </p:ext>
    </p:extLst>
  </p:cSld>
  <p:clrMap bg1="lt1" tx1="dk1" bg2="lt2" tx2="dk2" accent1="accent1" accent2="accent2" accent3="accent3" accent4="accent4" accent5="accent5" accent6="accent6" hlink="hlink" folHlink="folHlink"/>
  <p:sldLayoutIdLst>
    <p:sldLayoutId id="2147483708" r:id="rId1"/>
    <p:sldLayoutId id="2147483712" r:id="rId2"/>
    <p:sldLayoutId id="2147483709" r:id="rId3"/>
    <p:sldLayoutId id="2147483675" r:id="rId4"/>
    <p:sldLayoutId id="2147483679" r:id="rId5"/>
    <p:sldLayoutId id="2147483651" r:id="rId6"/>
    <p:sldLayoutId id="2147483666" r:id="rId7"/>
    <p:sldLayoutId id="2147483667" r:id="rId8"/>
    <p:sldLayoutId id="2147483673" r:id="rId9"/>
    <p:sldLayoutId id="2147483674" r:id="rId10"/>
    <p:sldLayoutId id="2147483678" r:id="rId11"/>
    <p:sldLayoutId id="2147483711" r:id="rId12"/>
    <p:sldLayoutId id="2147483665" r:id="rId13"/>
    <p:sldLayoutId id="2147483657" r:id="rId14"/>
    <p:sldLayoutId id="2147483670" r:id="rId15"/>
    <p:sldLayoutId id="2147483650" r:id="rId16"/>
    <p:sldLayoutId id="2147483713" r:id="rId17"/>
    <p:sldLayoutId id="2147483656" r:id="rId18"/>
    <p:sldLayoutId id="2147483664" r:id="rId19"/>
    <p:sldLayoutId id="2147483661" r:id="rId20"/>
    <p:sldLayoutId id="2147483658" r:id="rId21"/>
    <p:sldLayoutId id="2147483662" r:id="rId22"/>
    <p:sldLayoutId id="2147483659" r:id="rId23"/>
    <p:sldLayoutId id="2147483663" r:id="rId24"/>
    <p:sldLayoutId id="2147483660" r:id="rId25"/>
    <p:sldLayoutId id="2147483654" r:id="rId26"/>
    <p:sldLayoutId id="2147483655"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10" r:id="rId40"/>
    <p:sldLayoutId id="2147483714" r:id="rId41"/>
    <p:sldLayoutId id="2147483715" r:id="rId42"/>
    <p:sldLayoutId id="2147483773" r:id="rId43"/>
    <p:sldLayoutId id="2147483929" r:id="rId44"/>
  </p:sldLayoutIdLst>
  <p:hf hdr="0" ftr="0"/>
  <p:txStyles>
    <p:title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40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3840" userDrawn="1">
          <p15:clr>
            <a:srgbClr val="9FCC3B"/>
          </p15:clr>
        </p15:guide>
        <p15:guide id="3" orient="horz" pos="264" userDrawn="1">
          <p15:clr>
            <a:srgbClr val="9FCC3B"/>
          </p15:clr>
        </p15:guide>
        <p15:guide id="4" orient="horz" pos="4008" userDrawn="1">
          <p15:clr>
            <a:srgbClr val="FDE53C"/>
          </p15:clr>
        </p15:guide>
        <p15:guide id="6" pos="7440" userDrawn="1">
          <p15:clr>
            <a:srgbClr val="9FCC3B"/>
          </p15:clr>
        </p15:guide>
        <p15:guide id="7" orient="horz" pos="3696" userDrawn="1">
          <p15:clr>
            <a:srgbClr val="9FCC3B"/>
          </p15:clr>
        </p15:guide>
        <p15:guide id="9" orient="horz" pos="432" userDrawn="1">
          <p15:clr>
            <a:srgbClr val="9FCC3B"/>
          </p15:clr>
        </p15:guide>
        <p15:guide id="10" orient="horz" pos="792" userDrawn="1">
          <p15:clr>
            <a:srgbClr val="9FCC3B"/>
          </p15:clr>
        </p15:guide>
        <p15:guide id="11" orient="horz" pos="2304" userDrawn="1">
          <p15:clr>
            <a:srgbClr val="9FCC3B"/>
          </p15:clr>
        </p15:guide>
        <p15:guide id="12" userDrawn="1">
          <p15:clr>
            <a:srgbClr val="000000"/>
          </p15:clr>
        </p15:guide>
        <p15:guide id="13" pos="7680" userDrawn="1">
          <p15:clr>
            <a:srgbClr val="000000"/>
          </p15:clr>
        </p15:guide>
        <p15:guide id="14" orient="horz" userDrawn="1">
          <p15:clr>
            <a:srgbClr val="000000"/>
          </p15:clr>
        </p15:guide>
        <p15:guide id="15" orient="horz" pos="4320" userDrawn="1">
          <p15:clr>
            <a:srgbClr val="000000"/>
          </p15:clr>
        </p15:guide>
        <p15:guide id="16" pos="216"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57"/>
            </p:custDataLst>
            <p:extLst>
              <p:ext uri="{D42A27DB-BD31-4B8C-83A1-F6EECF244321}">
                <p14:modId xmlns:p14="http://schemas.microsoft.com/office/powerpoint/2010/main" val="12332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47" imgH="348" progId="TCLayout.ActiveDocument.1">
                  <p:embed/>
                </p:oleObj>
              </mc:Choice>
              <mc:Fallback>
                <p:oleObj name="think-cell Slide" r:id="rId59"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58"/>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42900" y="422624"/>
            <a:ext cx="1146241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342900" y="1257300"/>
            <a:ext cx="11462413" cy="4378085"/>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99828"/>
            <a:ext cx="496945" cy="237617"/>
          </a:xfrm>
          <a:prstGeom prst="rect">
            <a:avLst/>
          </a:prstGeom>
        </p:spPr>
        <p:txBody>
          <a:bodyPr vert="horz" lIns="0" tIns="0" rIns="0" bIns="0" rtlCol="0" anchor="ctr">
            <a:noAutofit/>
          </a:bodyPr>
          <a:lstStyle>
            <a:lvl1pPr algn="r">
              <a:defRPr sz="800" b="0">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accent3"/>
                </a:solidFill>
                <a:latin typeface="+mn-lt"/>
                <a:cs typeface="Arial" panose="020B0604020202020204" pitchFamily="34" charset="0"/>
              </a:rPr>
              <a:t>© 2024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421427201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 id="2147483757" r:id="rId41"/>
    <p:sldLayoutId id="2147483758" r:id="rId42"/>
    <p:sldLayoutId id="2147483759" r:id="rId43"/>
    <p:sldLayoutId id="2147483760" r:id="rId44"/>
    <p:sldLayoutId id="2147483761" r:id="rId45"/>
    <p:sldLayoutId id="2147483762" r:id="rId46"/>
    <p:sldLayoutId id="2147483763" r:id="rId47"/>
    <p:sldLayoutId id="2147483764" r:id="rId48"/>
    <p:sldLayoutId id="2147483765" r:id="rId49"/>
    <p:sldLayoutId id="2147483766" r:id="rId50"/>
    <p:sldLayoutId id="2147483767" r:id="rId51"/>
    <p:sldLayoutId id="2147483768" r:id="rId52"/>
    <p:sldLayoutId id="2147483769" r:id="rId53"/>
    <p:sldLayoutId id="2147483770" r:id="rId54"/>
    <p:sldLayoutId id="2147483872" r:id="rId55"/>
  </p:sldLayoutIdLst>
  <p:hf hdr="0" ftr="0"/>
  <p:txStyles>
    <p:titleStyle>
      <a:lvl1pPr algn="l" defTabSz="914400" rtl="0" eaLnBrk="1" latinLnBrk="0" hangingPunct="1">
        <a:lnSpc>
          <a:spcPct val="80000"/>
        </a:lnSpc>
        <a:spcBef>
          <a:spcPct val="0"/>
        </a:spcBef>
        <a:buNone/>
        <a:defRPr sz="2800" kern="1200" cap="all" spc="-1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40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264">
          <p15:clr>
            <a:srgbClr val="9FCC3B"/>
          </p15:clr>
        </p15:guide>
        <p15:guide id="4" orient="horz" pos="4008">
          <p15:clr>
            <a:srgbClr val="FDE53C"/>
          </p15:clr>
        </p15:guide>
        <p15:guide id="6" pos="7440">
          <p15:clr>
            <a:srgbClr val="9FCC3B"/>
          </p15:clr>
        </p15:guide>
        <p15:guide id="7" orient="horz" pos="3696">
          <p15:clr>
            <a:srgbClr val="9FCC3B"/>
          </p15:clr>
        </p15:guide>
        <p15:guide id="9" orient="horz" pos="432">
          <p15:clr>
            <a:srgbClr val="9FCC3B"/>
          </p15:clr>
        </p15:guide>
        <p15:guide id="10" orient="horz" pos="792">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216">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073797B-4FB4-49F4-B818-84098BEE1978}"/>
              </a:ext>
            </a:extLst>
          </p:cNvPr>
          <p:cNvGraphicFramePr>
            <a:graphicFrameLocks noChangeAspect="1"/>
          </p:cNvGraphicFramePr>
          <p:nvPr userDrawn="1">
            <p:custDataLst>
              <p:tags r:id="rId4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21" imgH="423" progId="TCLayout.ActiveDocument.1">
                  <p:embed/>
                </p:oleObj>
              </mc:Choice>
              <mc:Fallback>
                <p:oleObj name="think-cell Slide" r:id="rId45" imgW="421" imgH="423" progId="TCLayout.ActiveDocument.1">
                  <p:embed/>
                  <p:pic>
                    <p:nvPicPr>
                      <p:cNvPr id="9" name="Object 8" hidden="1">
                        <a:extLst>
                          <a:ext uri="{FF2B5EF4-FFF2-40B4-BE49-F238E27FC236}">
                            <a16:creationId xmlns:a16="http://schemas.microsoft.com/office/drawing/2014/main" id="{8073797B-4FB4-49F4-B818-84098BEE1978}"/>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D319B50-4ECD-4CF1-8B70-9DAF381A457A}"/>
              </a:ext>
            </a:extLst>
          </p:cNvPr>
          <p:cNvSpPr/>
          <p:nvPr userDrawn="1">
            <p:custDataLst>
              <p:tags r:id="rId44"/>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C9C61BD-1A56-4C96-8300-B2F24AEB8A0E}"/>
              </a:ext>
            </a:extLst>
          </p:cNvPr>
          <p:cNvSpPr>
            <a:spLocks noGrp="1"/>
          </p:cNvSpPr>
          <p:nvPr>
            <p:ph type="ftr" sz="quarter" idx="3"/>
          </p:nvPr>
        </p:nvSpPr>
        <p:spPr>
          <a:xfrm>
            <a:off x="495299" y="6480164"/>
            <a:ext cx="5600702" cy="237617"/>
          </a:xfrm>
          <a:prstGeom prst="rect">
            <a:avLst/>
          </a:prstGeom>
        </p:spPr>
        <p:txBody>
          <a:bodyPr vert="horz" lIns="0" tIns="0" rIns="0" bIns="0" rtlCol="0" anchor="b">
            <a:noAutofit/>
          </a:bodyPr>
          <a:lstStyle>
            <a:lvl1pPr algn="l">
              <a:defRPr sz="1000" b="1">
                <a:solidFill>
                  <a:schemeClr val="accent3"/>
                </a:solidFill>
              </a:defRPr>
            </a:lvl1pPr>
          </a:lstStyle>
          <a:p>
            <a:r>
              <a:rPr lang="en-US"/>
              <a:t>Footer, Arial Bold 10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accent3"/>
                </a:solidFill>
                <a:latin typeface="+mn-lt"/>
                <a:cs typeface="Arial" panose="020B0604020202020204" pitchFamily="34" charset="0"/>
              </a:rPr>
              <a:t>Honeywell Confidential - ©2025 by Honeywell International Inc. All rights reserved.</a:t>
            </a:r>
          </a:p>
        </p:txBody>
      </p:sp>
    </p:spTree>
    <p:extLst>
      <p:ext uri="{BB962C8B-B14F-4D97-AF65-F5344CB8AC3E}">
        <p14:creationId xmlns:p14="http://schemas.microsoft.com/office/powerpoint/2010/main" val="11422499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 id="2147483807" r:id="rId32"/>
    <p:sldLayoutId id="2147483808" r:id="rId33"/>
    <p:sldLayoutId id="2147483809" r:id="rId34"/>
    <p:sldLayoutId id="2147483810" r:id="rId35"/>
    <p:sldLayoutId id="2147483811" r:id="rId36"/>
    <p:sldLayoutId id="2147483812" r:id="rId37"/>
    <p:sldLayoutId id="2147483813" r:id="rId38"/>
    <p:sldLayoutId id="2147483815" r:id="rId39"/>
    <p:sldLayoutId id="2147483816" r:id="rId40"/>
    <p:sldLayoutId id="2147483817" r:id="rId41"/>
  </p:sldLayoutIdLst>
  <p:hf hdr="0" ftr="0" dt="0"/>
  <p:txStyles>
    <p:title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55"/>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47" imgH="348" progId="TCLayout.ActiveDocument.1">
                  <p:embed/>
                </p:oleObj>
              </mc:Choice>
              <mc:Fallback>
                <p:oleObj name="think-cell Slide" r:id="rId57"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56"/>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42900" y="422624"/>
            <a:ext cx="1146241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342900" y="1257300"/>
            <a:ext cx="11462413" cy="4378085"/>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99828"/>
            <a:ext cx="496945" cy="237617"/>
          </a:xfrm>
          <a:prstGeom prst="rect">
            <a:avLst/>
          </a:prstGeom>
        </p:spPr>
        <p:txBody>
          <a:bodyPr vert="horz" lIns="0" tIns="0" rIns="0" bIns="0" rtlCol="0" anchor="ctr">
            <a:noAutofit/>
          </a:bodyPr>
          <a:lstStyle>
            <a:lvl1pPr algn="r">
              <a:defRPr sz="800" b="0">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accent3"/>
                </a:solidFill>
                <a:latin typeface="+mn-lt"/>
                <a:cs typeface="Arial" panose="020B0604020202020204" pitchFamily="34" charset="0"/>
              </a:rPr>
              <a:t>© 2025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1674490476"/>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 id="2147483860" r:id="rId42"/>
    <p:sldLayoutId id="2147483861" r:id="rId43"/>
    <p:sldLayoutId id="2147483862" r:id="rId44"/>
    <p:sldLayoutId id="2147483863" r:id="rId45"/>
    <p:sldLayoutId id="2147483864" r:id="rId46"/>
    <p:sldLayoutId id="2147483865" r:id="rId47"/>
    <p:sldLayoutId id="2147483866" r:id="rId48"/>
    <p:sldLayoutId id="2147483867" r:id="rId49"/>
    <p:sldLayoutId id="2147483868" r:id="rId50"/>
    <p:sldLayoutId id="2147483869" r:id="rId51"/>
    <p:sldLayoutId id="2147483870" r:id="rId52"/>
    <p:sldLayoutId id="2147483871" r:id="rId53"/>
  </p:sldLayoutIdLst>
  <p:hf hdr="0" ftr="0"/>
  <p:txStyles>
    <p:title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40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264">
          <p15:clr>
            <a:srgbClr val="9FCC3B"/>
          </p15:clr>
        </p15:guide>
        <p15:guide id="4" orient="horz" pos="4008">
          <p15:clr>
            <a:srgbClr val="FDE53C"/>
          </p15:clr>
        </p15:guide>
        <p15:guide id="6" pos="7440">
          <p15:clr>
            <a:srgbClr val="9FCC3B"/>
          </p15:clr>
        </p15:guide>
        <p15:guide id="7" orient="horz" pos="3696">
          <p15:clr>
            <a:srgbClr val="9FCC3B"/>
          </p15:clr>
        </p15:guide>
        <p15:guide id="9" orient="horz" pos="432">
          <p15:clr>
            <a:srgbClr val="9FCC3B"/>
          </p15:clr>
        </p15:guide>
        <p15:guide id="10" orient="horz" pos="792">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216">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57"/>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47" imgH="348" progId="TCLayout.ActiveDocument.1">
                  <p:embed/>
                </p:oleObj>
              </mc:Choice>
              <mc:Fallback>
                <p:oleObj name="think-cell Slide" r:id="rId59"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58"/>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42900" y="422624"/>
            <a:ext cx="1146241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342900" y="1257300"/>
            <a:ext cx="11462413" cy="4378085"/>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64922"/>
            <a:ext cx="496945" cy="237617"/>
          </a:xfrm>
          <a:prstGeom prst="rect">
            <a:avLst/>
          </a:prstGeom>
        </p:spPr>
        <p:txBody>
          <a:bodyPr vert="horz" lIns="0" tIns="0" rIns="0" bIns="0" rtlCol="0" anchor="ctr">
            <a:noAutofit/>
          </a:bodyPr>
          <a:lstStyle>
            <a:lvl1pPr algn="r">
              <a:defRPr sz="800" b="0">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334274"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l" eaLnBrk="1" hangingPunct="1">
              <a:defRPr/>
            </a:pPr>
            <a:r>
              <a:rPr lang="en-US" altLang="en-US" sz="700">
                <a:solidFill>
                  <a:schemeClr val="accent3"/>
                </a:solidFill>
                <a:latin typeface="+mn-lt"/>
                <a:cs typeface="Arial" panose="020B0604020202020204" pitchFamily="34" charset="0"/>
              </a:rPr>
              <a:t>© 2025 Honeywell International Inc. Neither this document nor the information contained herein may be reproduced, </a:t>
            </a:r>
            <a:br>
              <a:rPr lang="en-US" altLang="en-US" sz="700">
                <a:solidFill>
                  <a:schemeClr val="accent3"/>
                </a:solidFill>
                <a:latin typeface="+mn-lt"/>
                <a:cs typeface="Arial" panose="020B0604020202020204" pitchFamily="34" charset="0"/>
              </a:rPr>
            </a:br>
            <a:r>
              <a:rPr lang="en-US" altLang="en-US" sz="700">
                <a:solidFill>
                  <a:schemeClr val="accent3"/>
                </a:solidFill>
                <a:latin typeface="+mn-lt"/>
                <a:cs typeface="Arial" panose="020B0604020202020204" pitchFamily="34" charset="0"/>
              </a:rPr>
              <a:t>used, distributed or disclosed to others without the written consent of Honeywell.</a:t>
            </a:r>
          </a:p>
        </p:txBody>
      </p:sp>
    </p:spTree>
    <p:extLst>
      <p:ext uri="{BB962C8B-B14F-4D97-AF65-F5344CB8AC3E}">
        <p14:creationId xmlns:p14="http://schemas.microsoft.com/office/powerpoint/2010/main" val="4163785894"/>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7" r:id="rId14"/>
    <p:sldLayoutId id="2147483888" r:id="rId15"/>
    <p:sldLayoutId id="2147483889" r:id="rId16"/>
    <p:sldLayoutId id="2147483890" r:id="rId17"/>
    <p:sldLayoutId id="2147483891" r:id="rId18"/>
    <p:sldLayoutId id="2147483892" r:id="rId19"/>
    <p:sldLayoutId id="2147483893" r:id="rId20"/>
    <p:sldLayoutId id="2147483894" r:id="rId21"/>
    <p:sldLayoutId id="2147483895" r:id="rId22"/>
    <p:sldLayoutId id="2147483896" r:id="rId23"/>
    <p:sldLayoutId id="2147483897" r:id="rId24"/>
    <p:sldLayoutId id="2147483898" r:id="rId25"/>
    <p:sldLayoutId id="2147483899" r:id="rId26"/>
    <p:sldLayoutId id="2147483900" r:id="rId27"/>
    <p:sldLayoutId id="2147483901" r:id="rId28"/>
    <p:sldLayoutId id="2147483902" r:id="rId29"/>
    <p:sldLayoutId id="2147483903" r:id="rId30"/>
    <p:sldLayoutId id="2147483904" r:id="rId31"/>
    <p:sldLayoutId id="2147483905" r:id="rId32"/>
    <p:sldLayoutId id="2147483906" r:id="rId33"/>
    <p:sldLayoutId id="2147483907" r:id="rId34"/>
    <p:sldLayoutId id="2147483908" r:id="rId35"/>
    <p:sldLayoutId id="2147483909" r:id="rId36"/>
    <p:sldLayoutId id="2147483910" r:id="rId37"/>
    <p:sldLayoutId id="2147483911" r:id="rId38"/>
    <p:sldLayoutId id="2147483912" r:id="rId39"/>
    <p:sldLayoutId id="2147483913" r:id="rId40"/>
    <p:sldLayoutId id="2147483914" r:id="rId41"/>
    <p:sldLayoutId id="2147483915" r:id="rId42"/>
    <p:sldLayoutId id="2147483916" r:id="rId43"/>
    <p:sldLayoutId id="2147483917" r:id="rId44"/>
    <p:sldLayoutId id="2147483918" r:id="rId45"/>
    <p:sldLayoutId id="2147483919" r:id="rId46"/>
    <p:sldLayoutId id="2147483920" r:id="rId47"/>
    <p:sldLayoutId id="2147483921" r:id="rId48"/>
    <p:sldLayoutId id="2147483922" r:id="rId49"/>
    <p:sldLayoutId id="2147483923" r:id="rId50"/>
    <p:sldLayoutId id="2147483924" r:id="rId51"/>
    <p:sldLayoutId id="2147483925" r:id="rId52"/>
    <p:sldLayoutId id="2147483926" r:id="rId53"/>
    <p:sldLayoutId id="2147483927" r:id="rId54"/>
    <p:sldLayoutId id="2147483928"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400" rtl="0" eaLnBrk="1" latinLnBrk="0" hangingPunct="1">
        <a:lnSpc>
          <a:spcPct val="80000"/>
        </a:lnSpc>
        <a:spcBef>
          <a:spcPct val="0"/>
        </a:spcBef>
        <a:buNone/>
        <a:defRPr sz="2800" kern="1200" cap="all" spc="-1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40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264">
          <p15:clr>
            <a:srgbClr val="9FCC3B"/>
          </p15:clr>
        </p15:guide>
        <p15:guide id="4" orient="horz" pos="4008">
          <p15:clr>
            <a:srgbClr val="FDE53C"/>
          </p15:clr>
        </p15:guide>
        <p15:guide id="6" pos="7440">
          <p15:clr>
            <a:srgbClr val="9FCC3B"/>
          </p15:clr>
        </p15:guide>
        <p15:guide id="7" orient="horz" pos="3696">
          <p15:clr>
            <a:srgbClr val="9FCC3B"/>
          </p15:clr>
        </p15:guide>
        <p15:guide id="9" orient="horz" pos="432">
          <p15:clr>
            <a:srgbClr val="9FCC3B"/>
          </p15:clr>
        </p15:guide>
        <p15:guide id="10" orient="horz" pos="792">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216">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19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Layout" Target="../slideLayouts/slideLayout4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26.xml"/><Relationship Id="rId5" Type="http://schemas.openxmlformats.org/officeDocument/2006/relationships/image" Target="../media/image49.png"/><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notesSlide" Target="../notesSlides/notesSlide11.xml"/><Relationship Id="rId7" Type="http://schemas.openxmlformats.org/officeDocument/2006/relationships/image" Target="../media/image52.png"/><Relationship Id="rId2" Type="http://schemas.openxmlformats.org/officeDocument/2006/relationships/slideLayout" Target="../slideLayouts/slideLayout38.xml"/><Relationship Id="rId1" Type="http://schemas.openxmlformats.org/officeDocument/2006/relationships/tags" Target="../tags/tag70.xml"/><Relationship Id="rId6" Type="http://schemas.openxmlformats.org/officeDocument/2006/relationships/image" Target="../media/image18.emf"/><Relationship Id="rId5" Type="http://schemas.openxmlformats.org/officeDocument/2006/relationships/oleObject" Target="../embeddings/oleObject19.bin"/><Relationship Id="rId10"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3.xml"/><Relationship Id="rId1" Type="http://schemas.openxmlformats.org/officeDocument/2006/relationships/tags" Target="../tags/tag71.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19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17.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44.xml"/><Relationship Id="rId4" Type="http://schemas.openxmlformats.org/officeDocument/2006/relationships/image" Target="../media/image53.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2.xml"/><Relationship Id="rId1" Type="http://schemas.openxmlformats.org/officeDocument/2006/relationships/tags" Target="../tags/tag62.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24.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jpe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image" Target="../media/image69.png"/><Relationship Id="rId11" Type="http://schemas.openxmlformats.org/officeDocument/2006/relationships/image" Target="../media/image53.svg"/><Relationship Id="rId5" Type="http://schemas.openxmlformats.org/officeDocument/2006/relationships/image" Target="../media/image68.jpeg"/><Relationship Id="rId10" Type="http://schemas.openxmlformats.org/officeDocument/2006/relationships/image" Target="../media/image52.png"/><Relationship Id="rId4" Type="http://schemas.openxmlformats.org/officeDocument/2006/relationships/image" Target="../media/image67.png"/><Relationship Id="rId9" Type="http://schemas.openxmlformats.org/officeDocument/2006/relationships/image" Target="../media/image7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0.xml"/><Relationship Id="rId1" Type="http://schemas.openxmlformats.org/officeDocument/2006/relationships/tags" Target="../tags/tag72.xml"/><Relationship Id="rId5" Type="http://schemas.openxmlformats.org/officeDocument/2006/relationships/image" Target="../media/image18.emf"/><Relationship Id="rId4"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0.xml"/><Relationship Id="rId1" Type="http://schemas.openxmlformats.org/officeDocument/2006/relationships/tags" Target="../tags/tag73.xml"/><Relationship Id="rId5" Type="http://schemas.openxmlformats.org/officeDocument/2006/relationships/image" Target="../media/image18.emf"/><Relationship Id="rId4" Type="http://schemas.openxmlformats.org/officeDocument/2006/relationships/oleObject" Target="../embeddings/oleObject20.bin"/></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2" Type="http://schemas.microsoft.com/office/2014/relationships/chartEx" Target="../charts/chartEx1.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microsoft.com/office/2014/relationships/chartEx" Target="../charts/chartEx2.xml"/><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7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3.xml"/><Relationship Id="rId1" Type="http://schemas.openxmlformats.org/officeDocument/2006/relationships/tags" Target="../tags/tag7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8.xml"/><Relationship Id="rId1" Type="http://schemas.openxmlformats.org/officeDocument/2006/relationships/tags" Target="../tags/tag76.xml"/><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4.xml"/><Relationship Id="rId7" Type="http://schemas.openxmlformats.org/officeDocument/2006/relationships/oleObject" Target="../embeddings/oleObject18.bin"/><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6.png"/><Relationship Id="rId5" Type="http://schemas.microsoft.com/office/2018/10/relationships/comments" Target="../comments/modernComment_11D_9F8ED5F1.xml"/><Relationship Id="rId10" Type="http://schemas.openxmlformats.org/officeDocument/2006/relationships/hyperlink" Target="https://www2.deloitte.com/us/en/insights/focus/industry-4-0/using-predictive-technologies-for-asset-maintenance.html" TargetMode="External"/><Relationship Id="rId4" Type="http://schemas.openxmlformats.org/officeDocument/2006/relationships/notesSlide" Target="../notesSlides/notesSlide2.xml"/><Relationship Id="rId9" Type="http://schemas.openxmlformats.org/officeDocument/2006/relationships/hyperlink" Target="https://itic-corp.com/tag/hourly-cost-of-downtime/"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3" Type="http://schemas.openxmlformats.org/officeDocument/2006/relationships/notesSlide" Target="../notesSlides/notesSlide21.xml"/><Relationship Id="rId7" Type="http://schemas.openxmlformats.org/officeDocument/2006/relationships/image" Target="../media/image76.svg"/><Relationship Id="rId12" Type="http://schemas.openxmlformats.org/officeDocument/2006/relationships/image" Target="../media/image81.png"/><Relationship Id="rId2" Type="http://schemas.openxmlformats.org/officeDocument/2006/relationships/slideLayout" Target="../slideLayouts/slideLayout38.xml"/><Relationship Id="rId1" Type="http://schemas.openxmlformats.org/officeDocument/2006/relationships/tags" Target="../tags/tag77.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18.emf"/><Relationship Id="rId10" Type="http://schemas.openxmlformats.org/officeDocument/2006/relationships/image" Target="../media/image79.png"/><Relationship Id="rId4" Type="http://schemas.openxmlformats.org/officeDocument/2006/relationships/oleObject" Target="../embeddings/oleObject19.bin"/><Relationship Id="rId9" Type="http://schemas.openxmlformats.org/officeDocument/2006/relationships/image" Target="../media/image78.svg"/></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microsoft.com/office/2014/relationships/chartEx" Target="../charts/chartEx3.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microsoft.com/office/2014/relationships/chartEx" Target="../charts/chartEx4.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3" Type="http://schemas.openxmlformats.org/officeDocument/2006/relationships/image" Target="../media/image85.png"/><Relationship Id="rId2" Type="http://schemas.microsoft.com/office/2014/relationships/chartEx" Target="../charts/chartEx5.xml"/><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9.xml"/></Relationships>
</file>

<file path=ppt/slides/_rels/slide35.xml.rels><?xml version="1.0" encoding="UTF-8" standalone="yes"?>
<Relationships xmlns="http://schemas.openxmlformats.org/package/2006/relationships"><Relationship Id="rId3" Type="http://schemas.openxmlformats.org/officeDocument/2006/relationships/image" Target="../media/image87.svg"/><Relationship Id="rId2" Type="http://schemas.openxmlformats.org/officeDocument/2006/relationships/image" Target="../media/image86.png"/><Relationship Id="rId1" Type="http://schemas.openxmlformats.org/officeDocument/2006/relationships/slideLayout" Target="../slideLayouts/slideLayout17.xml"/><Relationship Id="rId5" Type="http://schemas.openxmlformats.org/officeDocument/2006/relationships/image" Target="../media/image89.svg"/><Relationship Id="rId4" Type="http://schemas.openxmlformats.org/officeDocument/2006/relationships/image" Target="../media/image88.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78.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7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5.xml"/><Relationship Id="rId1" Type="http://schemas.openxmlformats.org/officeDocument/2006/relationships/tags" Target="../tags/tag65.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5.xml"/><Relationship Id="rId1" Type="http://schemas.openxmlformats.org/officeDocument/2006/relationships/tags" Target="../tags/tag66.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8.xml"/><Relationship Id="rId1" Type="http://schemas.openxmlformats.org/officeDocument/2006/relationships/tags" Target="../tags/tag67.xml"/><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8.xml"/><Relationship Id="rId1" Type="http://schemas.openxmlformats.org/officeDocument/2006/relationships/tags" Target="../tags/tag68.xml"/><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8.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notesSlide" Target="../notesSlides/notesSlide7.xml"/><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slideLayout" Target="../slideLayouts/slideLayout38.xml"/><Relationship Id="rId16" Type="http://schemas.openxmlformats.org/officeDocument/2006/relationships/image" Target="../media/image38.svg"/><Relationship Id="rId1" Type="http://schemas.openxmlformats.org/officeDocument/2006/relationships/tags" Target="../tags/tag69.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18.emf"/><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oleObject" Target="../embeddings/oleObject19.bin"/><Relationship Id="rId9" Type="http://schemas.openxmlformats.org/officeDocument/2006/relationships/image" Target="../media/image31.png"/><Relationship Id="rId14" Type="http://schemas.openxmlformats.org/officeDocument/2006/relationships/image" Target="../media/image36.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9">
            <a:extLst>
              <a:ext uri="{FF2B5EF4-FFF2-40B4-BE49-F238E27FC236}">
                <a16:creationId xmlns:a16="http://schemas.microsoft.com/office/drawing/2014/main" id="{34CD9297-F40F-99BB-8B72-01719D25A617}"/>
              </a:ext>
            </a:extLst>
          </p:cNvPr>
          <p:cNvPicPr>
            <a:picLocks noChangeAspect="1"/>
          </p:cNvPicPr>
          <p:nvPr/>
        </p:nvPicPr>
        <p:blipFill>
          <a:blip r:embed="rId3"/>
          <a:srcRect l="636" r="636"/>
          <a:stretch/>
        </p:blipFill>
        <p:spPr>
          <a:xfrm>
            <a:off x="0" y="0"/>
            <a:ext cx="12192000" cy="6921500"/>
          </a:xfrm>
          <a:prstGeom prst="rect">
            <a:avLst/>
          </a:prstGeom>
        </p:spPr>
      </p:pic>
      <p:pic>
        <p:nvPicPr>
          <p:cNvPr id="10" name="Picture Placeholder 9">
            <a:extLst>
              <a:ext uri="{FF2B5EF4-FFF2-40B4-BE49-F238E27FC236}">
                <a16:creationId xmlns:a16="http://schemas.microsoft.com/office/drawing/2014/main" id="{3794CB83-4C5E-F454-44E2-9E2E02CCC0AB}"/>
              </a:ext>
            </a:extLst>
          </p:cNvPr>
          <p:cNvPicPr>
            <a:picLocks noChangeAspect="1"/>
          </p:cNvPicPr>
          <p:nvPr/>
        </p:nvPicPr>
        <p:blipFill>
          <a:blip r:embed="rId4">
            <a:alphaModFix amt="15000"/>
          </a:blip>
          <a:srcRect l="636" r="636"/>
          <a:stretch/>
        </p:blipFill>
        <p:spPr>
          <a:xfrm>
            <a:off x="1" y="-6351"/>
            <a:ext cx="12192000" cy="6921500"/>
          </a:xfrm>
          <a:prstGeom prst="rect">
            <a:avLst/>
          </a:prstGeom>
        </p:spPr>
      </p:pic>
      <p:sp>
        <p:nvSpPr>
          <p:cNvPr id="9" name="Rectangle 8">
            <a:extLst>
              <a:ext uri="{FF2B5EF4-FFF2-40B4-BE49-F238E27FC236}">
                <a16:creationId xmlns:a16="http://schemas.microsoft.com/office/drawing/2014/main" id="{7C234A69-CC8E-378F-2578-DFF4C4B81601}"/>
              </a:ext>
            </a:extLst>
          </p:cNvPr>
          <p:cNvSpPr/>
          <p:nvPr/>
        </p:nvSpPr>
        <p:spPr>
          <a:xfrm rot="16200000" flipH="1">
            <a:off x="877096" y="-883445"/>
            <a:ext cx="6934200" cy="8688389"/>
          </a:xfrm>
          <a:prstGeom prst="rect">
            <a:avLst/>
          </a:prstGeom>
          <a:gradFill flip="none" rotWithShape="1">
            <a:gsLst>
              <a:gs pos="14000">
                <a:schemeClr val="tx1"/>
              </a:gs>
              <a:gs pos="84000">
                <a:schemeClr val="bg1">
                  <a:alpha val="0"/>
                  <a:lumMod val="91934"/>
                </a:schemeClr>
              </a:gs>
            </a:gsLst>
            <a:lin ang="4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C8C59A88-40BC-498F-A496-230917BC7A1C}"/>
              </a:ext>
            </a:extLst>
          </p:cNvPr>
          <p:cNvSpPr>
            <a:spLocks noGrp="1"/>
          </p:cNvSpPr>
          <p:nvPr>
            <p:ph type="ctrTitle"/>
          </p:nvPr>
        </p:nvSpPr>
        <p:spPr>
          <a:xfrm>
            <a:off x="495300" y="1181100"/>
            <a:ext cx="7906134" cy="2247900"/>
          </a:xfrm>
        </p:spPr>
        <p:txBody>
          <a:bodyPr/>
          <a:lstStyle/>
          <a:p>
            <a:r>
              <a:rPr lang="en-US" sz="4800">
                <a:solidFill>
                  <a:srgbClr val="D22630"/>
                </a:solidFill>
              </a:rPr>
              <a:t>LET’S CONNECT</a:t>
            </a:r>
            <a:br>
              <a:rPr lang="en-US" sz="4800"/>
            </a:br>
            <a:r>
              <a:rPr lang="en-US" sz="4800"/>
              <a:t>AND ACHIEVE THE OUTCOMES THAT MATTER MOST</a:t>
            </a:r>
            <a:endParaRPr lang="en-US" sz="4400"/>
          </a:p>
        </p:txBody>
      </p:sp>
      <p:sp>
        <p:nvSpPr>
          <p:cNvPr id="4" name="Subtitle 3">
            <a:extLst>
              <a:ext uri="{FF2B5EF4-FFF2-40B4-BE49-F238E27FC236}">
                <a16:creationId xmlns:a16="http://schemas.microsoft.com/office/drawing/2014/main" id="{FE925867-69E4-4411-AD3B-0EF0B3DB7AD1}"/>
              </a:ext>
            </a:extLst>
          </p:cNvPr>
          <p:cNvSpPr>
            <a:spLocks noGrp="1"/>
          </p:cNvSpPr>
          <p:nvPr>
            <p:ph type="subTitle" idx="1"/>
          </p:nvPr>
        </p:nvSpPr>
        <p:spPr>
          <a:xfrm>
            <a:off x="495300" y="4688290"/>
            <a:ext cx="6846404" cy="570586"/>
          </a:xfrm>
        </p:spPr>
        <p:txBody>
          <a:bodyPr lIns="0" rIns="0">
            <a:noAutofit/>
          </a:bodyPr>
          <a:lstStyle/>
          <a:p>
            <a:r>
              <a:rPr lang="en-US" dirty="0"/>
              <a:t>VAIBHAV AGARWAL</a:t>
            </a:r>
          </a:p>
          <a:p>
            <a:pPr lvl="1"/>
            <a:r>
              <a:rPr lang="en-US" dirty="0"/>
              <a:t>Global Connected Solutions – OFFERING LEADER</a:t>
            </a:r>
            <a:endParaRPr lang="en-US" dirty="0">
              <a:cs typeface="Arial"/>
            </a:endParaRPr>
          </a:p>
        </p:txBody>
      </p:sp>
      <p:sp>
        <p:nvSpPr>
          <p:cNvPr id="5" name="Date Placeholder 3">
            <a:extLst>
              <a:ext uri="{FF2B5EF4-FFF2-40B4-BE49-F238E27FC236}">
                <a16:creationId xmlns:a16="http://schemas.microsoft.com/office/drawing/2014/main" id="{C8A56052-F5C7-A923-4988-5A21F36B04C8}"/>
              </a:ext>
            </a:extLst>
          </p:cNvPr>
          <p:cNvSpPr txBox="1">
            <a:spLocks/>
          </p:cNvSpPr>
          <p:nvPr/>
        </p:nvSpPr>
        <p:spPr>
          <a:xfrm>
            <a:off x="495300" y="381000"/>
            <a:ext cx="2743200" cy="365125"/>
          </a:xfrm>
          <a:prstGeom prst="rect">
            <a:avLst/>
          </a:prstGeom>
        </p:spPr>
        <p:txBody>
          <a:bodyPr lIns="0" tIns="0" rIns="0" bIns="0" anchor="t"/>
          <a:lstStyle>
            <a:defPPr>
              <a:defRPr lang="en-US"/>
            </a:defPPr>
            <a:lvl1pPr marL="0" algn="l" defTabSz="914400" rtl="0" eaLnBrk="1" latinLnBrk="0" hangingPunct="1">
              <a:defRPr sz="14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fld id="{6E9E0F49-E339-4A0F-96CE-2C85F425F22F}" type="datetime4">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80000"/>
                </a:lnSpc>
                <a:spcBef>
                  <a:spcPts val="0"/>
                </a:spcBef>
                <a:spcAft>
                  <a:spcPts val="0"/>
                </a:spcAft>
                <a:buClrTx/>
                <a:buSzTx/>
                <a:buFontTx/>
                <a:buNone/>
                <a:tabLst/>
                <a:defRPr/>
              </a:pPr>
              <a:t>June 27, 202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11CC55B4-371F-312D-C14A-7C5B1B4910B5}"/>
              </a:ext>
            </a:extLst>
          </p:cNvPr>
          <p:cNvSpPr txBox="1"/>
          <p:nvPr/>
        </p:nvSpPr>
        <p:spPr>
          <a:xfrm>
            <a:off x="5735117" y="277978"/>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Arial"/>
              <a:ea typeface="+mn-ea"/>
              <a:cs typeface="+mn-cs"/>
            </a:endParaRPr>
          </a:p>
        </p:txBody>
      </p:sp>
      <p:pic>
        <p:nvPicPr>
          <p:cNvPr id="12" name="Picture 11" descr="A red text on a black background&#10;&#10;Description automatically generated">
            <a:extLst>
              <a:ext uri="{FF2B5EF4-FFF2-40B4-BE49-F238E27FC236}">
                <a16:creationId xmlns:a16="http://schemas.microsoft.com/office/drawing/2014/main" id="{F1057AB2-25D8-C5E9-AED5-6913F4669CBE}"/>
              </a:ext>
            </a:extLst>
          </p:cNvPr>
          <p:cNvPicPr>
            <a:picLocks noChangeAspect="1"/>
          </p:cNvPicPr>
          <p:nvPr/>
        </p:nvPicPr>
        <p:blipFill>
          <a:blip r:embed="rId5"/>
          <a:srcRect t="31078" b="31408"/>
          <a:stretch/>
        </p:blipFill>
        <p:spPr>
          <a:xfrm>
            <a:off x="495300" y="6161314"/>
            <a:ext cx="1970314" cy="415773"/>
          </a:xfrm>
          <a:prstGeom prst="rect">
            <a:avLst/>
          </a:prstGeom>
        </p:spPr>
      </p:pic>
      <p:pic>
        <p:nvPicPr>
          <p:cNvPr id="3" name="Picture 2" descr="A black background with white text&#10;&#10;AI-generated content may be incorrect.">
            <a:extLst>
              <a:ext uri="{FF2B5EF4-FFF2-40B4-BE49-F238E27FC236}">
                <a16:creationId xmlns:a16="http://schemas.microsoft.com/office/drawing/2014/main" id="{57706C62-5119-8D6E-F54E-39C9FDD46B28}"/>
              </a:ext>
            </a:extLst>
          </p:cNvPr>
          <p:cNvPicPr>
            <a:picLocks noChangeAspect="1"/>
          </p:cNvPicPr>
          <p:nvPr/>
        </p:nvPicPr>
        <p:blipFill>
          <a:blip r:embed="rId6"/>
          <a:stretch>
            <a:fillRect/>
          </a:stretch>
        </p:blipFill>
        <p:spPr>
          <a:xfrm>
            <a:off x="10243709" y="5566988"/>
            <a:ext cx="1533525" cy="895350"/>
          </a:xfrm>
          <a:prstGeom prst="rect">
            <a:avLst/>
          </a:prstGeom>
        </p:spPr>
      </p:pic>
    </p:spTree>
    <p:extLst>
      <p:ext uri="{BB962C8B-B14F-4D97-AF65-F5344CB8AC3E}">
        <p14:creationId xmlns:p14="http://schemas.microsoft.com/office/powerpoint/2010/main" val="1695418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7C1771-52CB-DA32-7651-BE8893FB13D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pic>
        <p:nvPicPr>
          <p:cNvPr id="19" name="Picture 18">
            <a:extLst>
              <a:ext uri="{FF2B5EF4-FFF2-40B4-BE49-F238E27FC236}">
                <a16:creationId xmlns:a16="http://schemas.microsoft.com/office/drawing/2014/main" id="{176AC96E-0497-1A85-F9F7-DBEF572809E1}"/>
              </a:ext>
            </a:extLst>
          </p:cNvPr>
          <p:cNvPicPr>
            <a:picLocks noChangeAspect="1"/>
          </p:cNvPicPr>
          <p:nvPr/>
        </p:nvPicPr>
        <p:blipFill>
          <a:blip r:embed="rId2"/>
          <a:stretch>
            <a:fillRect/>
          </a:stretch>
        </p:blipFill>
        <p:spPr>
          <a:xfrm>
            <a:off x="990599" y="1155990"/>
            <a:ext cx="4191768" cy="2559369"/>
          </a:xfrm>
          <a:prstGeom prst="rect">
            <a:avLst/>
          </a:prstGeom>
          <a:ln>
            <a:solidFill>
              <a:schemeClr val="bg1">
                <a:lumMod val="65000"/>
              </a:schemeClr>
            </a:solidFill>
          </a:ln>
        </p:spPr>
      </p:pic>
      <p:pic>
        <p:nvPicPr>
          <p:cNvPr id="20" name="Picture 19">
            <a:extLst>
              <a:ext uri="{FF2B5EF4-FFF2-40B4-BE49-F238E27FC236}">
                <a16:creationId xmlns:a16="http://schemas.microsoft.com/office/drawing/2014/main" id="{53B34A14-501B-7580-431B-041F95910272}"/>
              </a:ext>
            </a:extLst>
          </p:cNvPr>
          <p:cNvPicPr>
            <a:picLocks noChangeAspect="1"/>
          </p:cNvPicPr>
          <p:nvPr/>
        </p:nvPicPr>
        <p:blipFill>
          <a:blip r:embed="rId3"/>
          <a:stretch>
            <a:fillRect/>
          </a:stretch>
        </p:blipFill>
        <p:spPr>
          <a:xfrm>
            <a:off x="996319" y="3792681"/>
            <a:ext cx="4191768" cy="2559369"/>
          </a:xfrm>
          <a:prstGeom prst="rect">
            <a:avLst/>
          </a:prstGeom>
          <a:ln>
            <a:solidFill>
              <a:schemeClr val="bg1">
                <a:lumMod val="65000"/>
              </a:schemeClr>
            </a:solidFill>
          </a:ln>
        </p:spPr>
      </p:pic>
      <p:sp>
        <p:nvSpPr>
          <p:cNvPr id="21" name="Text Placeholder 6">
            <a:extLst>
              <a:ext uri="{FF2B5EF4-FFF2-40B4-BE49-F238E27FC236}">
                <a16:creationId xmlns:a16="http://schemas.microsoft.com/office/drawing/2014/main" id="{0D61FBA6-3576-9F27-5165-AB88A5751D4C}"/>
              </a:ext>
            </a:extLst>
          </p:cNvPr>
          <p:cNvSpPr txBox="1">
            <a:spLocks/>
          </p:cNvSpPr>
          <p:nvPr/>
        </p:nvSpPr>
        <p:spPr>
          <a:xfrm>
            <a:off x="5965741" y="1711462"/>
            <a:ext cx="4814700" cy="4613459"/>
          </a:xfrm>
          <a:prstGeom prst="rect">
            <a:avLst/>
          </a:prstGeom>
          <a:ln>
            <a:noFill/>
          </a:ln>
        </p:spPr>
        <p:txBody>
          <a:bodyPr vert="horz" lIns="91440" tIns="91440" rIns="0" bIns="91440" rtlCol="0">
            <a:norm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1400">
                <a:solidFill>
                  <a:schemeClr val="tx1"/>
                </a:solidFill>
              </a:rPr>
              <a:t>BA </a:t>
            </a:r>
            <a:r>
              <a:rPr kumimoji="0" lang="en-GB" sz="1400" b="1" i="0" u="none" strike="noStrike" kern="1200" cap="none" spc="0" normalizeH="0" baseline="0" noProof="0">
                <a:ln>
                  <a:noFill/>
                </a:ln>
                <a:solidFill>
                  <a:schemeClr val="tx1"/>
                </a:solidFill>
                <a:effectLst/>
                <a:uLnTx/>
                <a:uFillTx/>
                <a:latin typeface="Arial"/>
                <a:ea typeface="+mn-ea"/>
                <a:cs typeface="+mn-cs"/>
              </a:rPr>
              <a:t> Ecommerce site for instant ordering  </a:t>
            </a:r>
            <a:r>
              <a:rPr kumimoji="0" lang="en-GB" sz="1400" b="0" i="0" u="none" strike="noStrike" kern="1200" cap="none" spc="0" normalizeH="0" baseline="0" noProof="0">
                <a:ln>
                  <a:noFill/>
                </a:ln>
                <a:solidFill>
                  <a:schemeClr val="tx1"/>
                </a:solidFill>
                <a:effectLst/>
                <a:uLnTx/>
                <a:uFillTx/>
                <a:latin typeface="Arial"/>
                <a:ea typeface="+mn-ea"/>
                <a:cs typeface="+mn-cs"/>
              </a:rPr>
              <a:t>No Excel sheets/ manual </a:t>
            </a:r>
            <a:r>
              <a:rPr lang="en-GB" sz="1400" b="0">
                <a:solidFill>
                  <a:schemeClr val="tx1"/>
                </a:solidFill>
              </a:rPr>
              <a:t>p</a:t>
            </a:r>
            <a:r>
              <a:rPr kumimoji="0" lang="en-GB" sz="1400" b="0" i="0" u="none" strike="noStrike" kern="1200" cap="none" spc="0" normalizeH="0" baseline="0" noProof="0" err="1">
                <a:ln>
                  <a:noFill/>
                </a:ln>
                <a:solidFill>
                  <a:schemeClr val="tx1"/>
                </a:solidFill>
                <a:effectLst/>
                <a:uLnTx/>
                <a:uFillTx/>
                <a:latin typeface="Arial"/>
                <a:ea typeface="+mn-ea"/>
                <a:cs typeface="+mn-cs"/>
              </a:rPr>
              <a:t>rocess</a:t>
            </a:r>
            <a:r>
              <a:rPr kumimoji="0" lang="en-GB" sz="1400" b="0" i="0" u="none" strike="noStrike" kern="1200" cap="none" spc="0" normalizeH="0" baseline="0" noProof="0">
                <a:ln>
                  <a:noFill/>
                </a:ln>
                <a:solidFill>
                  <a:schemeClr val="tx1"/>
                </a:solidFill>
                <a:effectLst/>
                <a:uLnTx/>
                <a:uFillTx/>
                <a:latin typeface="Arial"/>
                <a:ea typeface="+mn-ea"/>
                <a:cs typeface="+mn-cs"/>
              </a:rPr>
              <a:t> for Ordering. Complete ordering in minutes from current 7 days</a:t>
            </a:r>
            <a:r>
              <a:rPr kumimoji="0" lang="en-GB" sz="1200" b="0" i="0" u="none" strike="noStrike" kern="1200" cap="none" spc="0" normalizeH="0" baseline="0" noProof="0">
                <a:ln>
                  <a:noFill/>
                </a:ln>
                <a:solidFill>
                  <a:schemeClr val="tx1"/>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n-GB" sz="1400" b="1" i="0" u="none" strike="noStrike" kern="1200" cap="none" spc="0" normalizeH="0" baseline="0" noProof="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schemeClr val="tx1"/>
                </a:solidFill>
                <a:effectLst/>
                <a:uLnTx/>
                <a:uFillTx/>
                <a:latin typeface="Arial"/>
                <a:ea typeface="+mn-ea"/>
                <a:cs typeface="+mn-cs"/>
              </a:rPr>
              <a:t>Order Hardware &amp; SW subscription SKUs together- </a:t>
            </a:r>
            <a:r>
              <a:rPr kumimoji="0" lang="en-GB" sz="1400" b="0" i="0" u="none" strike="noStrike" kern="1200" cap="none" spc="0" normalizeH="0" baseline="0" noProof="0">
                <a:ln>
                  <a:noFill/>
                </a:ln>
                <a:solidFill>
                  <a:schemeClr val="tx1"/>
                </a:solidFill>
                <a:effectLst/>
                <a:uLnTx/>
                <a:uFillTx/>
                <a:latin typeface="Arial"/>
                <a:ea typeface="+mn-ea"/>
                <a:cs typeface="+mn-cs"/>
              </a:rPr>
              <a:t>Flexible ordering system to mix and match appropriate SKUs</a:t>
            </a: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1" i="0" u="none" strike="noStrike" kern="1200" cap="none" spc="0" normalizeH="0" baseline="0" noProof="0">
                <a:ln>
                  <a:noFill/>
                </a:ln>
                <a:solidFill>
                  <a:schemeClr val="tx1"/>
                </a:solidFill>
                <a:effectLst/>
                <a:uLnTx/>
                <a:uFillTx/>
                <a:latin typeface="Arial"/>
                <a:ea typeface="+mn-ea"/>
                <a:cs typeface="+mn-cs"/>
              </a:rPr>
              <a:t>Single Sign-On – </a:t>
            </a:r>
            <a:r>
              <a:rPr kumimoji="0" lang="en-GB" sz="1400" b="0" i="0" u="none" strike="noStrike" kern="1200" cap="none" spc="0" normalizeH="0" baseline="0" noProof="0">
                <a:ln>
                  <a:noFill/>
                </a:ln>
                <a:solidFill>
                  <a:schemeClr val="tx1"/>
                </a:solidFill>
                <a:effectLst/>
                <a:uLnTx/>
                <a:uFillTx/>
                <a:latin typeface="Arial"/>
                <a:ea typeface="+mn-ea"/>
                <a:cs typeface="+mn-cs"/>
              </a:rPr>
              <a:t>Single Sign-On between eCommerce Portal and Partner Portal</a:t>
            </a:r>
            <a:endParaRPr kumimoji="0" lang="en-GB" sz="1400" b="1" i="0" u="none" strike="noStrike" kern="1200" cap="none" spc="0" normalizeH="0" baseline="0" noProof="0">
              <a:ln>
                <a:noFill/>
              </a:ln>
              <a:solidFill>
                <a:schemeClr val="tx1"/>
              </a:solidFill>
              <a:effectLst/>
              <a:uLnTx/>
              <a:uFillTx/>
              <a:latin typeface="Arial"/>
              <a:ea typeface="+mn-ea"/>
              <a:cs typeface="+mn-cs"/>
            </a:endParaRPr>
          </a:p>
        </p:txBody>
      </p:sp>
      <p:sp>
        <p:nvSpPr>
          <p:cNvPr id="25" name="Title 1">
            <a:extLst>
              <a:ext uri="{FF2B5EF4-FFF2-40B4-BE49-F238E27FC236}">
                <a16:creationId xmlns:a16="http://schemas.microsoft.com/office/drawing/2014/main" id="{82C98BD7-3E6A-F126-26D6-E3EDFC6C4E33}"/>
              </a:ext>
            </a:extLst>
          </p:cNvPr>
          <p:cNvSpPr txBox="1">
            <a:spLocks/>
          </p:cNvSpPr>
          <p:nvPr/>
        </p:nvSpPr>
        <p:spPr>
          <a:xfrm>
            <a:off x="5767069" y="1319357"/>
            <a:ext cx="2076543" cy="19497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solidFill>
                  <a:schemeClr val="bg1"/>
                </a:solidFill>
                <a:effectLst/>
                <a:uLnTx/>
                <a:uFillTx/>
                <a:latin typeface="Arial Black"/>
                <a:ea typeface="+mj-ea"/>
                <a:cs typeface="+mj-cs"/>
              </a:rPr>
              <a:t>improvements</a:t>
            </a:r>
            <a:endParaRPr kumimoji="0" lang="en-US" sz="1400" b="0" i="0" u="none" strike="noStrike" kern="1200" cap="all" spc="0" normalizeH="0" baseline="0" noProof="0">
              <a:ln>
                <a:noFill/>
              </a:ln>
              <a:solidFill>
                <a:schemeClr val="bg1"/>
              </a:solidFill>
              <a:effectLst/>
              <a:uLnTx/>
              <a:uFillTx/>
              <a:latin typeface="Arial Black"/>
              <a:ea typeface="+mj-ea"/>
              <a:cs typeface="+mj-cs"/>
            </a:endParaRPr>
          </a:p>
        </p:txBody>
      </p:sp>
      <p:sp>
        <p:nvSpPr>
          <p:cNvPr id="28" name="Rectangle 27">
            <a:extLst>
              <a:ext uri="{FF2B5EF4-FFF2-40B4-BE49-F238E27FC236}">
                <a16:creationId xmlns:a16="http://schemas.microsoft.com/office/drawing/2014/main" id="{F7A64373-67D8-D0AD-67F1-FFBF78FEE89D}"/>
              </a:ext>
            </a:extLst>
          </p:cNvPr>
          <p:cNvSpPr/>
          <p:nvPr/>
        </p:nvSpPr>
        <p:spPr>
          <a:xfrm>
            <a:off x="5644507" y="1303279"/>
            <a:ext cx="45719" cy="194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32" name="Rounded Rectangle 31">
            <a:extLst>
              <a:ext uri="{FF2B5EF4-FFF2-40B4-BE49-F238E27FC236}">
                <a16:creationId xmlns:a16="http://schemas.microsoft.com/office/drawing/2014/main" id="{7A50A11A-73FE-E76D-5577-57740DD79ED2}"/>
              </a:ext>
            </a:extLst>
          </p:cNvPr>
          <p:cNvSpPr/>
          <p:nvPr/>
        </p:nvSpPr>
        <p:spPr>
          <a:xfrm>
            <a:off x="5658027" y="2020677"/>
            <a:ext cx="269540" cy="272563"/>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1</a:t>
            </a:r>
          </a:p>
        </p:txBody>
      </p:sp>
      <p:sp>
        <p:nvSpPr>
          <p:cNvPr id="5" name="TextBox 4">
            <a:extLst>
              <a:ext uri="{FF2B5EF4-FFF2-40B4-BE49-F238E27FC236}">
                <a16:creationId xmlns:a16="http://schemas.microsoft.com/office/drawing/2014/main" id="{6A74FBB0-09F4-A588-28DE-F5ED816C8F17}"/>
              </a:ext>
            </a:extLst>
          </p:cNvPr>
          <p:cNvSpPr txBox="1"/>
          <p:nvPr/>
        </p:nvSpPr>
        <p:spPr>
          <a:xfrm>
            <a:off x="990599" y="744398"/>
            <a:ext cx="6094990" cy="215444"/>
          </a:xfrm>
          <a:prstGeom prst="rect">
            <a:avLst/>
          </a:prstGeom>
          <a:noFill/>
        </p:spPr>
        <p:txBody>
          <a:bodyPr wrap="square" lIns="0" tIns="0" rIns="0" bIns="0">
            <a:spAutoFit/>
          </a:bodyPr>
          <a:lstStyle/>
          <a:p>
            <a:pPr marL="0" marR="0" lvl="1" indent="-55562"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mn-ea"/>
                <a:cs typeface="+mn-cs"/>
              </a:rPr>
              <a:t>Via BA Ecommerce Portal </a:t>
            </a:r>
            <a:r>
              <a:rPr kumimoji="0" lang="en-GB" sz="1400" b="0" i="0" u="none" strike="noStrike" kern="1200" cap="none" spc="0" normalizeH="0" baseline="0" noProof="0" err="1">
                <a:ln>
                  <a:noFill/>
                </a:ln>
                <a:effectLst/>
                <a:uLnTx/>
                <a:uFillTx/>
                <a:latin typeface="Arial"/>
                <a:ea typeface="+mn-ea"/>
                <a:cs typeface="+mn-cs"/>
              </a:rPr>
              <a:t>mybuildings.honeywell.com</a:t>
            </a:r>
            <a:endParaRPr kumimoji="0" lang="en-GB" sz="1400" b="0" i="0" u="none" strike="noStrike" kern="1200" cap="none" spc="0" normalizeH="0" baseline="0" noProof="0">
              <a:ln>
                <a:noFill/>
              </a:ln>
              <a:effectLst/>
              <a:uLnTx/>
              <a:uFillTx/>
              <a:latin typeface="Arial"/>
              <a:ea typeface="+mn-ea"/>
              <a:cs typeface="+mn-cs"/>
            </a:endParaRPr>
          </a:p>
        </p:txBody>
      </p:sp>
      <p:sp>
        <p:nvSpPr>
          <p:cNvPr id="4" name="Rounded Rectangle 32">
            <a:extLst>
              <a:ext uri="{FF2B5EF4-FFF2-40B4-BE49-F238E27FC236}">
                <a16:creationId xmlns:a16="http://schemas.microsoft.com/office/drawing/2014/main" id="{433046C5-2786-F40B-3FA9-57719B59EE51}"/>
              </a:ext>
            </a:extLst>
          </p:cNvPr>
          <p:cNvSpPr/>
          <p:nvPr/>
        </p:nvSpPr>
        <p:spPr>
          <a:xfrm>
            <a:off x="5685191" y="2815659"/>
            <a:ext cx="269540" cy="272563"/>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Black"/>
                <a:ea typeface="+mn-ea"/>
                <a:cs typeface="+mn-cs"/>
              </a:rPr>
              <a:t>2</a:t>
            </a:r>
            <a:endParaRPr kumimoji="0" lang="en-US" sz="1400" b="0" i="0" u="none" strike="noStrike" kern="1200" cap="none" spc="0" normalizeH="0" baseline="0" noProof="0">
              <a:ln>
                <a:noFill/>
              </a:ln>
              <a:solidFill>
                <a:prstClr val="white"/>
              </a:solidFill>
              <a:effectLst/>
              <a:uLnTx/>
              <a:uFillTx/>
              <a:latin typeface="Arial Black"/>
              <a:ea typeface="+mn-ea"/>
              <a:cs typeface="+mn-cs"/>
            </a:endParaRPr>
          </a:p>
        </p:txBody>
      </p:sp>
      <p:sp>
        <p:nvSpPr>
          <p:cNvPr id="6" name="Rounded Rectangle 5">
            <a:extLst>
              <a:ext uri="{FF2B5EF4-FFF2-40B4-BE49-F238E27FC236}">
                <a16:creationId xmlns:a16="http://schemas.microsoft.com/office/drawing/2014/main" id="{69625BBC-BF1F-E9DD-6561-40EE5D132FD1}"/>
              </a:ext>
            </a:extLst>
          </p:cNvPr>
          <p:cNvSpPr/>
          <p:nvPr/>
        </p:nvSpPr>
        <p:spPr>
          <a:xfrm>
            <a:off x="799340" y="1446699"/>
            <a:ext cx="269540" cy="272563"/>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1</a:t>
            </a:r>
          </a:p>
        </p:txBody>
      </p:sp>
      <p:sp>
        <p:nvSpPr>
          <p:cNvPr id="8" name="Rounded Rectangle 32">
            <a:extLst>
              <a:ext uri="{FF2B5EF4-FFF2-40B4-BE49-F238E27FC236}">
                <a16:creationId xmlns:a16="http://schemas.microsoft.com/office/drawing/2014/main" id="{9D22AE66-BEDC-DEE0-F181-5695150E37DD}"/>
              </a:ext>
            </a:extLst>
          </p:cNvPr>
          <p:cNvSpPr/>
          <p:nvPr/>
        </p:nvSpPr>
        <p:spPr>
          <a:xfrm>
            <a:off x="799340" y="4101464"/>
            <a:ext cx="269540" cy="272563"/>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Black"/>
                <a:ea typeface="+mn-ea"/>
                <a:cs typeface="+mn-cs"/>
              </a:rPr>
              <a:t>2</a:t>
            </a:r>
            <a:endParaRPr kumimoji="0" lang="en-US" sz="1400" b="0" i="0" u="none" strike="noStrike" kern="1200" cap="none" spc="0" normalizeH="0" baseline="0" noProof="0">
              <a:ln>
                <a:noFill/>
              </a:ln>
              <a:solidFill>
                <a:prstClr val="white"/>
              </a:solidFill>
              <a:effectLst/>
              <a:uLnTx/>
              <a:uFillTx/>
              <a:latin typeface="Arial Black"/>
              <a:ea typeface="+mn-ea"/>
              <a:cs typeface="+mn-cs"/>
            </a:endParaRPr>
          </a:p>
        </p:txBody>
      </p:sp>
      <p:sp>
        <p:nvSpPr>
          <p:cNvPr id="9" name="TextBox 8">
            <a:extLst>
              <a:ext uri="{FF2B5EF4-FFF2-40B4-BE49-F238E27FC236}">
                <a16:creationId xmlns:a16="http://schemas.microsoft.com/office/drawing/2014/main" id="{951E2223-D718-3DF6-5B50-A0A610FEB407}"/>
              </a:ext>
            </a:extLst>
          </p:cNvPr>
          <p:cNvSpPr txBox="1"/>
          <p:nvPr/>
        </p:nvSpPr>
        <p:spPr>
          <a:xfrm>
            <a:off x="782223" y="4279752"/>
            <a:ext cx="0" cy="0"/>
          </a:xfrm>
          <a:prstGeom prst="rect">
            <a:avLst/>
          </a:prstGeom>
          <a:noFill/>
        </p:spPr>
        <p:txBody>
          <a:bodyPr wrap="none" lIns="0" tIns="0" rIns="0" bIns="0" rtlCol="0">
            <a:noAutofit/>
          </a:bodyPr>
          <a:lstStyle/>
          <a:p>
            <a:pPr algn="l">
              <a:spcAft>
                <a:spcPts val="600"/>
              </a:spcAft>
            </a:pPr>
            <a:endParaRPr lang="en-US" sz="1400" err="1">
              <a:solidFill>
                <a:prstClr val="black"/>
              </a:solidFill>
            </a:endParaRPr>
          </a:p>
        </p:txBody>
      </p:sp>
      <p:sp>
        <p:nvSpPr>
          <p:cNvPr id="10" name="Oval 9">
            <a:extLst>
              <a:ext uri="{FF2B5EF4-FFF2-40B4-BE49-F238E27FC236}">
                <a16:creationId xmlns:a16="http://schemas.microsoft.com/office/drawing/2014/main" id="{9278AFEA-B5B0-F464-7C0C-42A6EBD31AC7}"/>
              </a:ext>
            </a:extLst>
          </p:cNvPr>
          <p:cNvSpPr/>
          <p:nvPr/>
        </p:nvSpPr>
        <p:spPr>
          <a:xfrm>
            <a:off x="495298" y="338328"/>
            <a:ext cx="406070" cy="4060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1 </a:t>
            </a:r>
          </a:p>
        </p:txBody>
      </p:sp>
      <p:sp>
        <p:nvSpPr>
          <p:cNvPr id="11" name="Title 1">
            <a:extLst>
              <a:ext uri="{FF2B5EF4-FFF2-40B4-BE49-F238E27FC236}">
                <a16:creationId xmlns:a16="http://schemas.microsoft.com/office/drawing/2014/main" id="{2CF60D54-808C-4BAF-B08F-F626E3F5245F}"/>
              </a:ext>
            </a:extLst>
          </p:cNvPr>
          <p:cNvSpPr>
            <a:spLocks noGrp="1"/>
          </p:cNvSpPr>
          <p:nvPr>
            <p:ph type="title"/>
          </p:nvPr>
        </p:nvSpPr>
        <p:spPr>
          <a:xfrm>
            <a:off x="990599" y="385346"/>
            <a:ext cx="11201401" cy="411592"/>
          </a:xfrm>
        </p:spPr>
        <p:txBody>
          <a:bodyPr/>
          <a:lstStyle/>
          <a:p>
            <a:r>
              <a:rPr lang="en-US"/>
              <a:t>ordering</a:t>
            </a:r>
          </a:p>
        </p:txBody>
      </p:sp>
    </p:spTree>
    <p:extLst>
      <p:ext uri="{BB962C8B-B14F-4D97-AF65-F5344CB8AC3E}">
        <p14:creationId xmlns:p14="http://schemas.microsoft.com/office/powerpoint/2010/main" val="3714035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44284-BEA4-FB72-6430-ED7C0B9CC782}"/>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B77BBA53-BD96-7459-F1DB-A7F637F7B4CA}"/>
              </a:ext>
            </a:extLst>
          </p:cNvPr>
          <p:cNvSpPr/>
          <p:nvPr/>
        </p:nvSpPr>
        <p:spPr>
          <a:xfrm>
            <a:off x="5142523" y="4420008"/>
            <a:ext cx="2781373" cy="1752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bg1"/>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1AB99090-9190-3FBF-7719-BA00CD1F7CF1}"/>
              </a:ext>
            </a:extLst>
          </p:cNvPr>
          <p:cNvSpPr/>
          <p:nvPr/>
        </p:nvSpPr>
        <p:spPr>
          <a:xfrm>
            <a:off x="8821063" y="4420008"/>
            <a:ext cx="2781373" cy="1752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bg1"/>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C4D72757-A5C9-0B9D-0845-A27E600F397D}"/>
              </a:ext>
            </a:extLst>
          </p:cNvPr>
          <p:cNvSpPr>
            <a:spLocks noGrp="1"/>
          </p:cNvSpPr>
          <p:nvPr>
            <p:ph type="sldNum" sz="quarter" idx="12"/>
          </p:nvPr>
        </p:nvSpPr>
        <p:spPr>
          <a:xfrm>
            <a:off x="11466425" y="6480166"/>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chemeClr val="bg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1" i="0" u="none" strike="noStrike" kern="1200" cap="none" spc="0" normalizeH="0" baseline="0" noProof="0">
              <a:ln>
                <a:noFill/>
              </a:ln>
              <a:solidFill>
                <a:schemeClr val="bg1"/>
              </a:solidFill>
              <a:effectLst/>
              <a:uLnTx/>
              <a:uFillTx/>
              <a:latin typeface="Arial"/>
              <a:ea typeface="+mn-ea"/>
              <a:cs typeface="+mn-cs"/>
            </a:endParaRPr>
          </a:p>
        </p:txBody>
      </p:sp>
      <p:sp>
        <p:nvSpPr>
          <p:cNvPr id="21" name="Text Placeholder 6">
            <a:extLst>
              <a:ext uri="{FF2B5EF4-FFF2-40B4-BE49-F238E27FC236}">
                <a16:creationId xmlns:a16="http://schemas.microsoft.com/office/drawing/2014/main" id="{C422E400-A41C-6372-1488-C3C94A48482F}"/>
              </a:ext>
            </a:extLst>
          </p:cNvPr>
          <p:cNvSpPr txBox="1">
            <a:spLocks/>
          </p:cNvSpPr>
          <p:nvPr/>
        </p:nvSpPr>
        <p:spPr>
          <a:xfrm>
            <a:off x="5092000" y="1187770"/>
            <a:ext cx="6642832" cy="977493"/>
          </a:xfrm>
          <a:prstGeom prst="rect">
            <a:avLst/>
          </a:prstGeom>
          <a:ln>
            <a:noFill/>
          </a:ln>
        </p:spPr>
        <p:txBody>
          <a:bodyPr vert="horz" lIns="91440" tIns="91440" rIns="0" bIns="91440" rtlCol="0">
            <a:noAutofit/>
          </a:bodyPr>
          <a:lstStyle>
            <a:defPPr>
              <a:defRPr lang="en-US"/>
            </a:defPPr>
            <a:lvl1pPr marL="285750" marR="0" lvl="0" indent="-285750" fontAlgn="auto">
              <a:lnSpc>
                <a:spcPct val="100000"/>
              </a:lnSpc>
              <a:spcBef>
                <a:spcPts val="0"/>
              </a:spcBef>
              <a:spcAft>
                <a:spcPts val="0"/>
              </a:spcAft>
              <a:buClrTx/>
              <a:buSzPct val="100000"/>
              <a:buFont typeface="Arial" panose="020B0604020202020204" pitchFamily="34" charset="0"/>
              <a:buChar char="•"/>
              <a:tabLst/>
              <a:defRPr kumimoji="0" sz="1600" b="1" i="0" u="none" strike="noStrike" cap="none" spc="0" normalizeH="0" baseline="0">
                <a:ln>
                  <a:noFill/>
                </a:ln>
                <a:solidFill>
                  <a:prstClr val="black"/>
                </a:solidFill>
                <a:effectLst/>
                <a:uLnTx/>
                <a:uFillTx/>
                <a:latin typeface="Arial"/>
              </a:defRPr>
            </a:lvl1pPr>
            <a:lvl2pPr marL="230188" indent="-230188" defTabSz="685800">
              <a:lnSpc>
                <a:spcPct val="100000"/>
              </a:lnSpc>
              <a:spcBef>
                <a:spcPts val="0"/>
              </a:spcBef>
              <a:spcAft>
                <a:spcPts val="600"/>
              </a:spcAft>
              <a:buClr>
                <a:srgbClr val="DC202E"/>
              </a:buClr>
              <a:buFont typeface="Arial" panose="020B0604020202020204" pitchFamily="34" charset="0"/>
              <a:buChar char="•"/>
            </a:lvl2pPr>
            <a:lvl3pPr marL="457200" indent="-227013" defTabSz="685800">
              <a:lnSpc>
                <a:spcPct val="100000"/>
              </a:lnSpc>
              <a:spcBef>
                <a:spcPts val="0"/>
              </a:spcBef>
              <a:spcAft>
                <a:spcPts val="600"/>
              </a:spcAft>
              <a:buClrTx/>
              <a:buFont typeface="Arial" panose="020B0604020202020204" pitchFamily="34" charset="0"/>
              <a:buChar char="‒"/>
              <a:defRPr sz="1600"/>
            </a:lvl3pPr>
            <a:lvl4pPr marL="684213" indent="-222250" defTabSz="685800">
              <a:lnSpc>
                <a:spcPct val="100000"/>
              </a:lnSpc>
              <a:spcBef>
                <a:spcPts val="0"/>
              </a:spcBef>
              <a:spcAft>
                <a:spcPts val="600"/>
              </a:spcAft>
              <a:buClr>
                <a:schemeClr val="accent2"/>
              </a:buClr>
              <a:buFont typeface="Wingdings" panose="05000000000000000000" pitchFamily="2" charset="2"/>
              <a:buChar char="§"/>
              <a:defRPr sz="1400"/>
            </a:lvl4pPr>
            <a:lvl5pPr marL="854075" indent="-169863" defTabSz="685800">
              <a:lnSpc>
                <a:spcPct val="100000"/>
              </a:lnSpc>
              <a:spcBef>
                <a:spcPts val="0"/>
              </a:spcBef>
              <a:spcAft>
                <a:spcPts val="600"/>
              </a:spcAft>
              <a:buClr>
                <a:schemeClr val="tx1"/>
              </a:buClr>
              <a:buFont typeface="Arial" panose="020B0604020202020204" pitchFamily="34" charset="0"/>
              <a:buChar char="•"/>
              <a:defRPr sz="1200" b="0" baseline="0"/>
            </a:lvl5pPr>
            <a:lvl6pPr marL="742950" indent="-111125" defTabSz="685800">
              <a:lnSpc>
                <a:spcPct val="90000"/>
              </a:lnSpc>
              <a:spcBef>
                <a:spcPts val="375"/>
              </a:spcBef>
              <a:buFont typeface="Arial" panose="020B0604020202020204" pitchFamily="34" charset="0"/>
              <a:buChar char="•"/>
              <a:defRPr sz="140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120650" marR="0" lvl="0" indent="-120650" algn="l" defTabSz="914400" rtl="0" eaLnBrk="1" fontAlgn="auto" latinLnBrk="0" hangingPunct="1">
              <a:lnSpc>
                <a:spcPct val="150000"/>
              </a:lnSpc>
              <a:spcBef>
                <a:spcPts val="0"/>
              </a:spcBef>
              <a:spcAft>
                <a:spcPts val="0"/>
              </a:spcAft>
              <a:buClrTx/>
              <a:buSzPct val="100000"/>
              <a:buFont typeface="Arial" panose="020B0604020202020204" pitchFamily="34" charset="0"/>
              <a:buChar char="•"/>
              <a:defRPr/>
            </a:pPr>
            <a:r>
              <a:rPr kumimoji="0" lang="en-GB" sz="1400" b="0" i="0" u="none" strike="noStrike" kern="1200" cap="none" spc="0" normalizeH="0" baseline="0" noProof="0">
                <a:ln>
                  <a:noFill/>
                </a:ln>
                <a:solidFill>
                  <a:schemeClr val="tx1"/>
                </a:solidFill>
                <a:effectLst/>
                <a:uLnTx/>
                <a:uFillTx/>
                <a:latin typeface="Arial"/>
                <a:ea typeface="+mn-ea"/>
                <a:cs typeface="+mn-cs"/>
              </a:rPr>
              <a:t>One cloud connection pipe - multiple form factors </a:t>
            </a:r>
          </a:p>
          <a:p>
            <a:pPr marL="120650" marR="0" lvl="0" indent="-120650" algn="l" defTabSz="914400" rtl="0" eaLnBrk="1" fontAlgn="auto" latinLnBrk="0" hangingPunct="1">
              <a:lnSpc>
                <a:spcPct val="150000"/>
              </a:lnSpc>
              <a:spcBef>
                <a:spcPts val="0"/>
              </a:spcBef>
              <a:spcAft>
                <a:spcPts val="0"/>
              </a:spcAft>
              <a:buClrTx/>
              <a:buSzPct val="100000"/>
              <a:buFont typeface="Arial" panose="020B0604020202020204" pitchFamily="34" charset="0"/>
              <a:buChar char="•"/>
              <a:defRPr/>
            </a:pPr>
            <a:r>
              <a:rPr kumimoji="0" lang="en-GB" sz="1400" b="0" i="0" u="none" strike="noStrike" kern="1200" cap="none" spc="0" normalizeH="0" baseline="0" noProof="0">
                <a:ln>
                  <a:noFill/>
                </a:ln>
                <a:solidFill>
                  <a:schemeClr val="tx1"/>
                </a:solidFill>
                <a:effectLst/>
                <a:uLnTx/>
                <a:uFillTx/>
                <a:latin typeface="Arial"/>
                <a:ea typeface="+mn-ea"/>
                <a:cs typeface="+mn-cs"/>
              </a:rPr>
              <a:t>Remote management – Remote connectivity to gateway, powered by Niagara Remote</a:t>
            </a:r>
          </a:p>
          <a:p>
            <a:pPr marL="120650" marR="0" lvl="0" indent="-120650" algn="l" defTabSz="914400" rtl="0" eaLnBrk="1" fontAlgn="auto" latinLnBrk="0" hangingPunct="1">
              <a:lnSpc>
                <a:spcPct val="150000"/>
              </a:lnSpc>
              <a:spcBef>
                <a:spcPts val="0"/>
              </a:spcBef>
              <a:spcAft>
                <a:spcPts val="0"/>
              </a:spcAft>
              <a:buClrTx/>
              <a:buSzPct val="100000"/>
              <a:buFont typeface="Arial" panose="020B0604020202020204" pitchFamily="34" charset="0"/>
              <a:buChar char="•"/>
              <a:defRPr/>
            </a:pPr>
            <a:r>
              <a:rPr kumimoji="0" lang="en-GB" sz="1400" b="0" i="0" u="none" strike="noStrike" kern="1200" cap="none" spc="0" normalizeH="0" baseline="0" noProof="0">
                <a:ln>
                  <a:noFill/>
                </a:ln>
                <a:solidFill>
                  <a:schemeClr val="tx1"/>
                </a:solidFill>
                <a:effectLst/>
                <a:uLnTx/>
                <a:uFillTx/>
                <a:latin typeface="Arial"/>
                <a:ea typeface="+mn-ea"/>
                <a:cs typeface="+mn-cs"/>
              </a:rPr>
              <a:t>More than just telemetry &amp; alarms – Now captures device information as well</a:t>
            </a:r>
          </a:p>
          <a:p>
            <a:pPr marL="120650" marR="0" lvl="0" indent="-120650" algn="l" defTabSz="914400" rtl="0" eaLnBrk="1" fontAlgn="auto" latinLnBrk="0" hangingPunct="1">
              <a:lnSpc>
                <a:spcPct val="150000"/>
              </a:lnSpc>
              <a:spcBef>
                <a:spcPts val="0"/>
              </a:spcBef>
              <a:spcAft>
                <a:spcPts val="0"/>
              </a:spcAft>
              <a:buClrTx/>
              <a:buSzPct val="100000"/>
              <a:buFont typeface="Arial" panose="020B0604020202020204" pitchFamily="34" charset="0"/>
              <a:buChar char="•"/>
              <a:defRPr/>
            </a:pPr>
            <a:r>
              <a:rPr kumimoji="0" lang="en-GB" sz="1400" b="0" i="0" u="none" strike="noStrike" kern="1200" cap="none" spc="0" normalizeH="0" baseline="0" noProof="0">
                <a:ln>
                  <a:noFill/>
                </a:ln>
                <a:solidFill>
                  <a:schemeClr val="tx1"/>
                </a:solidFill>
                <a:effectLst/>
                <a:uLnTx/>
                <a:uFillTx/>
                <a:latin typeface="Arial"/>
                <a:ea typeface="+mn-ea"/>
                <a:cs typeface="+mn-cs"/>
              </a:rPr>
              <a:t>No Licensing requirements onsite – </a:t>
            </a:r>
            <a:r>
              <a:rPr lang="en-GB" sz="1400" b="0">
                <a:solidFill>
                  <a:schemeClr val="tx1"/>
                </a:solidFill>
              </a:rPr>
              <a:t>A</a:t>
            </a:r>
            <a:r>
              <a:rPr kumimoji="0" lang="en-GB" sz="1400" b="0" i="0" u="none" strike="noStrike" kern="1200" cap="none" spc="0" normalizeH="0" baseline="0" noProof="0" err="1">
                <a:ln>
                  <a:noFill/>
                </a:ln>
                <a:solidFill>
                  <a:schemeClr val="tx1"/>
                </a:solidFill>
                <a:effectLst/>
                <a:uLnTx/>
                <a:uFillTx/>
                <a:latin typeface="Arial"/>
                <a:ea typeface="+mn-ea"/>
                <a:cs typeface="+mn-cs"/>
              </a:rPr>
              <a:t>utomated</a:t>
            </a:r>
            <a:r>
              <a:rPr kumimoji="0" lang="en-GB" sz="1400" b="0" i="0" u="none" strike="noStrike" kern="1200" cap="none" spc="0" normalizeH="0" baseline="0" noProof="0">
                <a:ln>
                  <a:noFill/>
                </a:ln>
                <a:solidFill>
                  <a:schemeClr val="tx1"/>
                </a:solidFill>
                <a:effectLst/>
                <a:uLnTx/>
                <a:uFillTx/>
                <a:latin typeface="Arial"/>
                <a:ea typeface="+mn-ea"/>
                <a:cs typeface="+mn-cs"/>
              </a:rPr>
              <a:t> licensing for Niagara devices,</a:t>
            </a:r>
          </a:p>
          <a:p>
            <a:pPr marL="120650" marR="0" lvl="0" indent="-120650" algn="l" defTabSz="914400" rtl="0" eaLnBrk="1" fontAlgn="auto" latinLnBrk="0" hangingPunct="1">
              <a:lnSpc>
                <a:spcPct val="150000"/>
              </a:lnSpc>
              <a:spcBef>
                <a:spcPts val="0"/>
              </a:spcBef>
              <a:spcAft>
                <a:spcPts val="0"/>
              </a:spcAft>
              <a:buClrTx/>
              <a:buSzPct val="100000"/>
              <a:buFont typeface="Arial" panose="020B0604020202020204" pitchFamily="34" charset="0"/>
              <a:buChar char="•"/>
              <a:defRPr/>
            </a:pPr>
            <a:endParaRPr kumimoji="0" lang="en-GB" sz="1400" b="0" i="0" u="none" strike="noStrike" kern="1200" cap="none" spc="0" normalizeH="0" baseline="0" noProof="0">
              <a:ln>
                <a:noFill/>
              </a:ln>
              <a:solidFill>
                <a:schemeClr val="tx1"/>
              </a:solidFill>
              <a:effectLst/>
              <a:uLnTx/>
              <a:uFillTx/>
              <a:latin typeface="Arial"/>
              <a:ea typeface="+mn-ea"/>
              <a:cs typeface="+mn-cs"/>
            </a:endParaRPr>
          </a:p>
        </p:txBody>
      </p:sp>
      <p:sp>
        <p:nvSpPr>
          <p:cNvPr id="25" name="Title 1">
            <a:extLst>
              <a:ext uri="{FF2B5EF4-FFF2-40B4-BE49-F238E27FC236}">
                <a16:creationId xmlns:a16="http://schemas.microsoft.com/office/drawing/2014/main" id="{FC112C15-DC7C-25F1-ABAC-CFA06520B85C}"/>
              </a:ext>
            </a:extLst>
          </p:cNvPr>
          <p:cNvSpPr txBox="1">
            <a:spLocks/>
          </p:cNvSpPr>
          <p:nvPr/>
        </p:nvSpPr>
        <p:spPr>
          <a:xfrm>
            <a:off x="5186360" y="1011888"/>
            <a:ext cx="3115067" cy="19497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effectLst/>
                <a:uLnTx/>
                <a:uFillTx/>
                <a:latin typeface="Arial Black"/>
                <a:ea typeface="+mj-ea"/>
                <a:cs typeface="+mj-cs"/>
              </a:rPr>
              <a:t>GENERAL improvements</a:t>
            </a:r>
            <a:endParaRPr kumimoji="0" lang="en-US" sz="1400" b="0" i="0" u="none" strike="noStrike" kern="1200" cap="all" spc="0" normalizeH="0" baseline="0" noProof="0">
              <a:ln>
                <a:noFill/>
              </a:ln>
              <a:effectLst/>
              <a:uLnTx/>
              <a:uFillTx/>
              <a:latin typeface="Arial Black"/>
              <a:ea typeface="+mj-ea"/>
              <a:cs typeface="+mj-cs"/>
            </a:endParaRPr>
          </a:p>
        </p:txBody>
      </p:sp>
      <p:sp>
        <p:nvSpPr>
          <p:cNvPr id="28" name="Rectangle 27">
            <a:extLst>
              <a:ext uri="{FF2B5EF4-FFF2-40B4-BE49-F238E27FC236}">
                <a16:creationId xmlns:a16="http://schemas.microsoft.com/office/drawing/2014/main" id="{2781B8CF-4A74-B589-4AC5-8D5A453FF596}"/>
              </a:ext>
            </a:extLst>
          </p:cNvPr>
          <p:cNvSpPr/>
          <p:nvPr/>
        </p:nvSpPr>
        <p:spPr>
          <a:xfrm>
            <a:off x="5063798" y="995810"/>
            <a:ext cx="45719" cy="194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29" name="Rounded Rectangle 28">
            <a:extLst>
              <a:ext uri="{FF2B5EF4-FFF2-40B4-BE49-F238E27FC236}">
                <a16:creationId xmlns:a16="http://schemas.microsoft.com/office/drawing/2014/main" id="{88576934-4C0B-82A4-DA8D-2CCC3B0FCCD5}"/>
              </a:ext>
            </a:extLst>
          </p:cNvPr>
          <p:cNvSpPr/>
          <p:nvPr/>
        </p:nvSpPr>
        <p:spPr>
          <a:xfrm>
            <a:off x="572945" y="1432931"/>
            <a:ext cx="269540" cy="272563"/>
          </a:xfrm>
          <a:prstGeom prst="roundRect">
            <a:avLst/>
          </a:prstGeom>
          <a:solidFill>
            <a:schemeClr val="tx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1</a:t>
            </a:r>
          </a:p>
        </p:txBody>
      </p:sp>
      <p:sp>
        <p:nvSpPr>
          <p:cNvPr id="30" name="Rounded Rectangle 29">
            <a:extLst>
              <a:ext uri="{FF2B5EF4-FFF2-40B4-BE49-F238E27FC236}">
                <a16:creationId xmlns:a16="http://schemas.microsoft.com/office/drawing/2014/main" id="{BBE2B646-BD56-09F4-F9EC-783452628CFA}"/>
              </a:ext>
            </a:extLst>
          </p:cNvPr>
          <p:cNvSpPr/>
          <p:nvPr/>
        </p:nvSpPr>
        <p:spPr>
          <a:xfrm>
            <a:off x="572945" y="3402339"/>
            <a:ext cx="269540" cy="272563"/>
          </a:xfrm>
          <a:prstGeom prst="roundRect">
            <a:avLst/>
          </a:prstGeom>
          <a:solidFill>
            <a:schemeClr val="tx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Black"/>
                <a:ea typeface="+mn-ea"/>
                <a:cs typeface="+mn-cs"/>
              </a:rPr>
              <a:t>2</a:t>
            </a:r>
          </a:p>
        </p:txBody>
      </p:sp>
      <p:sp>
        <p:nvSpPr>
          <p:cNvPr id="2" name="Title 1">
            <a:extLst>
              <a:ext uri="{FF2B5EF4-FFF2-40B4-BE49-F238E27FC236}">
                <a16:creationId xmlns:a16="http://schemas.microsoft.com/office/drawing/2014/main" id="{CF7BB37B-11C9-92D5-7C06-E1E9B42D8223}"/>
              </a:ext>
            </a:extLst>
          </p:cNvPr>
          <p:cNvSpPr txBox="1">
            <a:spLocks/>
          </p:cNvSpPr>
          <p:nvPr/>
        </p:nvSpPr>
        <p:spPr>
          <a:xfrm>
            <a:off x="920115" y="1419996"/>
            <a:ext cx="2983183" cy="317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effectLst/>
                <a:uLnTx/>
                <a:uFillTx/>
                <a:latin typeface="Arial Black"/>
                <a:ea typeface="+mj-ea"/>
                <a:cs typeface="+mj-cs"/>
              </a:rPr>
              <a:t>SOFTWARE based GATEWAYS</a:t>
            </a:r>
            <a:endParaRPr kumimoji="0" lang="en-US" sz="1400" b="0" i="0" u="none" strike="noStrike" kern="1200" cap="all" spc="0" normalizeH="0" baseline="0" noProof="0">
              <a:ln>
                <a:noFill/>
              </a:ln>
              <a:effectLst/>
              <a:uLnTx/>
              <a:uFillTx/>
              <a:latin typeface="Arial Black"/>
              <a:ea typeface="+mj-ea"/>
              <a:cs typeface="+mj-cs"/>
            </a:endParaRPr>
          </a:p>
        </p:txBody>
      </p:sp>
      <p:sp>
        <p:nvSpPr>
          <p:cNvPr id="4" name="Title 1">
            <a:extLst>
              <a:ext uri="{FF2B5EF4-FFF2-40B4-BE49-F238E27FC236}">
                <a16:creationId xmlns:a16="http://schemas.microsoft.com/office/drawing/2014/main" id="{BEF28008-EF87-C180-2523-44AF7E222EBE}"/>
              </a:ext>
            </a:extLst>
          </p:cNvPr>
          <p:cNvSpPr txBox="1">
            <a:spLocks/>
          </p:cNvSpPr>
          <p:nvPr/>
        </p:nvSpPr>
        <p:spPr>
          <a:xfrm>
            <a:off x="926871" y="3403035"/>
            <a:ext cx="2388948" cy="317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effectLst/>
                <a:uLnTx/>
                <a:uFillTx/>
                <a:latin typeface="Arial Black"/>
                <a:ea typeface="+mj-ea"/>
                <a:cs typeface="+mj-cs"/>
              </a:rPr>
              <a:t>HARDWARE GATEWAY</a:t>
            </a:r>
            <a:r>
              <a:rPr lang="en-GB" sz="1400">
                <a:latin typeface="Arial Black"/>
              </a:rPr>
              <a:t>s</a:t>
            </a:r>
            <a:endParaRPr kumimoji="0" lang="en-GB" sz="1400" b="0" i="0" u="none" strike="noStrike" kern="1200" cap="all" spc="0" normalizeH="0" baseline="0" noProof="0">
              <a:ln>
                <a:noFill/>
              </a:ln>
              <a:effectLst/>
              <a:uLnTx/>
              <a:uFillTx/>
              <a:latin typeface="Arial Black"/>
              <a:ea typeface="+mj-ea"/>
              <a:cs typeface="+mj-cs"/>
            </a:endParaRPr>
          </a:p>
        </p:txBody>
      </p:sp>
      <p:sp>
        <p:nvSpPr>
          <p:cNvPr id="6" name="TextBox 5">
            <a:extLst>
              <a:ext uri="{FF2B5EF4-FFF2-40B4-BE49-F238E27FC236}">
                <a16:creationId xmlns:a16="http://schemas.microsoft.com/office/drawing/2014/main" id="{525D8E07-DB00-26BC-4F75-735D7B6171A8}"/>
              </a:ext>
            </a:extLst>
          </p:cNvPr>
          <p:cNvSpPr txBox="1"/>
          <p:nvPr/>
        </p:nvSpPr>
        <p:spPr>
          <a:xfrm>
            <a:off x="823444" y="3915207"/>
            <a:ext cx="3222625"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Supports BACnet &amp; MODBUS</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a:t>
            </a:r>
            <a:r>
              <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on Niagara device</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Webserver based commissioning</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Up to 3000 points Supported</a:t>
            </a:r>
          </a:p>
        </p:txBody>
      </p:sp>
      <p:sp>
        <p:nvSpPr>
          <p:cNvPr id="7" name="Content Placeholder 2">
            <a:extLst>
              <a:ext uri="{FF2B5EF4-FFF2-40B4-BE49-F238E27FC236}">
                <a16:creationId xmlns:a16="http://schemas.microsoft.com/office/drawing/2014/main" id="{73957C0A-0C16-3B0B-AD28-9258D3E99A07}"/>
              </a:ext>
            </a:extLst>
          </p:cNvPr>
          <p:cNvSpPr txBox="1">
            <a:spLocks/>
          </p:cNvSpPr>
          <p:nvPr/>
        </p:nvSpPr>
        <p:spPr>
          <a:xfrm>
            <a:off x="904696" y="1870093"/>
            <a:ext cx="2388948" cy="861774"/>
          </a:xfrm>
          <a:prstGeom prst="rect">
            <a:avLst/>
          </a:prstGeom>
        </p:spPr>
        <p:txBody>
          <a:bodyPr vert="horz" wrap="square" lIns="0" tIns="0" rIns="0" bIns="0"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0650" indent="-120650">
              <a:spcBef>
                <a:spcPts val="0"/>
              </a:spcBef>
              <a:defRPr/>
            </a:pPr>
            <a:r>
              <a:rPr kumimoji="0" lang="en-GB" sz="1400" b="0" i="0" u="none" strike="noStrike" kern="1200" cap="none" spc="0" normalizeH="0" baseline="0" noProof="0">
                <a:ln>
                  <a:noFill/>
                </a:ln>
                <a:effectLst/>
                <a:uLnTx/>
                <a:uFillTx/>
                <a:latin typeface="Arial"/>
                <a:ea typeface="+mn-ea"/>
                <a:cs typeface="Arial" panose="020B0604020202020204" pitchFamily="34" charset="0"/>
              </a:rPr>
              <a:t>Niagara supervisors</a:t>
            </a:r>
          </a:p>
          <a:p>
            <a:pPr marL="120650" indent="-120650">
              <a:spcBef>
                <a:spcPts val="0"/>
              </a:spcBef>
              <a:defRPr/>
            </a:pPr>
            <a:r>
              <a:rPr kumimoji="0" lang="en-GB" sz="1400" b="0" i="0" u="none" strike="noStrike" kern="1200" cap="none" spc="0" normalizeH="0" baseline="0" noProof="0">
                <a:ln>
                  <a:noFill/>
                </a:ln>
                <a:effectLst/>
                <a:uLnTx/>
                <a:uFillTx/>
                <a:latin typeface="Arial"/>
                <a:ea typeface="+mn-ea"/>
                <a:cs typeface="Arial" panose="020B0604020202020204" pitchFamily="34" charset="0"/>
              </a:rPr>
              <a:t>EBI</a:t>
            </a:r>
          </a:p>
          <a:p>
            <a:pPr marL="120650" indent="-120650">
              <a:spcBef>
                <a:spcPts val="0"/>
              </a:spcBef>
              <a:defRPr/>
            </a:pPr>
            <a:r>
              <a:rPr kumimoji="0" lang="en-GB" sz="1400" b="0" i="0" u="none" strike="noStrike" kern="1200" cap="none" spc="0" normalizeH="0" baseline="0" noProof="0">
                <a:ln>
                  <a:noFill/>
                </a:ln>
                <a:effectLst/>
                <a:uLnTx/>
                <a:uFillTx/>
                <a:latin typeface="Arial"/>
                <a:ea typeface="+mn-ea"/>
                <a:cs typeface="Arial" panose="020B0604020202020204" pitchFamily="34" charset="0"/>
              </a:rPr>
              <a:t>Alerton Compass </a:t>
            </a:r>
            <a:r>
              <a:rPr lang="en-GB" sz="1400">
                <a:latin typeface="Arial"/>
                <a:cs typeface="Arial" panose="020B0604020202020204" pitchFamily="34" charset="0"/>
              </a:rPr>
              <a:t> </a:t>
            </a:r>
            <a:r>
              <a:rPr kumimoji="0" lang="en-GB" sz="900" b="1" i="1" u="none" strike="noStrike" kern="1200" cap="none" spc="0" normalizeH="0" baseline="0" noProof="0">
                <a:ln>
                  <a:noFill/>
                </a:ln>
                <a:effectLst/>
                <a:highlight>
                  <a:srgbClr val="FFFF00"/>
                </a:highlight>
                <a:uLnTx/>
                <a:uFillTx/>
                <a:latin typeface="Arial"/>
                <a:ea typeface="+mn-ea"/>
                <a:cs typeface="Arial" panose="020B0604020202020204" pitchFamily="34" charset="0"/>
              </a:rPr>
              <a:t>Coming soon</a:t>
            </a:r>
            <a:endParaRPr kumimoji="0" lang="en-GB" sz="1400" b="1" i="1" u="none" strike="noStrike" kern="1200" cap="none" spc="0" normalizeH="0" baseline="0" noProof="0">
              <a:ln>
                <a:noFill/>
              </a:ln>
              <a:effectLst/>
              <a:highlight>
                <a:srgbClr val="FFFF00"/>
              </a:highlight>
              <a:uLnTx/>
              <a:uFillTx/>
              <a:latin typeface="Arial"/>
              <a:ea typeface="+mn-ea"/>
              <a:cs typeface="Arial" panose="020B0604020202020204" pitchFamily="34" charset="0"/>
            </a:endParaRPr>
          </a:p>
          <a:p>
            <a:pPr marL="120650" indent="-120650">
              <a:spcBef>
                <a:spcPts val="0"/>
              </a:spcBef>
              <a:defRPr/>
            </a:pPr>
            <a:r>
              <a:rPr kumimoji="0" lang="en-GB" sz="1400" b="0" i="0" u="none" strike="noStrike" kern="1200" cap="none" spc="0" normalizeH="0" baseline="0" noProof="0">
                <a:ln>
                  <a:noFill/>
                </a:ln>
                <a:effectLst/>
                <a:uLnTx/>
                <a:uFillTx/>
                <a:latin typeface="Arial"/>
                <a:ea typeface="+mn-ea"/>
                <a:cs typeface="Arial" panose="020B0604020202020204" pitchFamily="34" charset="0"/>
              </a:rPr>
              <a:t>Supports up to </a:t>
            </a:r>
            <a:r>
              <a:rPr kumimoji="0" lang="en-GB" sz="1400" b="1" i="0" u="none" strike="noStrike" kern="1200" cap="none" spc="0" normalizeH="0" baseline="0" noProof="0">
                <a:ln>
                  <a:noFill/>
                </a:ln>
                <a:effectLst/>
                <a:uLnTx/>
                <a:uFillTx/>
                <a:latin typeface="Arial"/>
                <a:ea typeface="+mn-ea"/>
                <a:cs typeface="Arial" panose="020B0604020202020204" pitchFamily="34" charset="0"/>
              </a:rPr>
              <a:t>75K points</a:t>
            </a:r>
            <a:endParaRPr kumimoji="0" lang="en-US" sz="1400" b="1"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itle 1">
            <a:extLst>
              <a:ext uri="{FF2B5EF4-FFF2-40B4-BE49-F238E27FC236}">
                <a16:creationId xmlns:a16="http://schemas.microsoft.com/office/drawing/2014/main" id="{AFF75D43-A362-B4BB-B5BE-DD018A25DF55}"/>
              </a:ext>
            </a:extLst>
          </p:cNvPr>
          <p:cNvSpPr txBox="1">
            <a:spLocks/>
          </p:cNvSpPr>
          <p:nvPr/>
        </p:nvSpPr>
        <p:spPr>
          <a:xfrm>
            <a:off x="457168" y="1024949"/>
            <a:ext cx="2854753" cy="19497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effectLst/>
                <a:uLnTx/>
                <a:uFillTx/>
                <a:latin typeface="Arial Black"/>
                <a:ea typeface="+mj-ea"/>
                <a:cs typeface="+mj-cs"/>
              </a:rPr>
              <a:t>GATEWAY OPTIONS </a:t>
            </a:r>
            <a:endParaRPr kumimoji="0" lang="en-US" sz="1400" b="0" i="0" u="none" strike="noStrike" kern="1200" cap="all" spc="0" normalizeH="0" baseline="0" noProof="0">
              <a:ln>
                <a:noFill/>
              </a:ln>
              <a:effectLst/>
              <a:uLnTx/>
              <a:uFillTx/>
              <a:latin typeface="Arial Black"/>
              <a:ea typeface="+mj-ea"/>
              <a:cs typeface="+mj-cs"/>
            </a:endParaRPr>
          </a:p>
        </p:txBody>
      </p:sp>
      <p:sp>
        <p:nvSpPr>
          <p:cNvPr id="12" name="Rounded Rectangle 11">
            <a:extLst>
              <a:ext uri="{FF2B5EF4-FFF2-40B4-BE49-F238E27FC236}">
                <a16:creationId xmlns:a16="http://schemas.microsoft.com/office/drawing/2014/main" id="{ECA2C055-D2BC-A7E3-FB13-E8B42DB0DBD0}"/>
              </a:ext>
            </a:extLst>
          </p:cNvPr>
          <p:cNvSpPr/>
          <p:nvPr/>
        </p:nvSpPr>
        <p:spPr>
          <a:xfrm>
            <a:off x="642044" y="4941313"/>
            <a:ext cx="153320" cy="155040"/>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Black"/>
              <a:ea typeface="+mn-ea"/>
              <a:cs typeface="+mn-cs"/>
            </a:endParaRPr>
          </a:p>
        </p:txBody>
      </p:sp>
      <p:sp>
        <p:nvSpPr>
          <p:cNvPr id="16" name="Title 1">
            <a:extLst>
              <a:ext uri="{FF2B5EF4-FFF2-40B4-BE49-F238E27FC236}">
                <a16:creationId xmlns:a16="http://schemas.microsoft.com/office/drawing/2014/main" id="{EB3FD5CF-9AA1-031D-873A-DA2D7010B21C}"/>
              </a:ext>
            </a:extLst>
          </p:cNvPr>
          <p:cNvSpPr txBox="1">
            <a:spLocks/>
          </p:cNvSpPr>
          <p:nvPr/>
        </p:nvSpPr>
        <p:spPr>
          <a:xfrm>
            <a:off x="944770" y="5778379"/>
            <a:ext cx="2429221" cy="317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effectLst/>
                <a:uLnTx/>
                <a:uFillTx/>
                <a:latin typeface="Arial Black"/>
                <a:ea typeface="+mj-ea"/>
                <a:cs typeface="+mj-cs"/>
              </a:rPr>
              <a:t>IQ5</a:t>
            </a:r>
          </a:p>
        </p:txBody>
      </p:sp>
      <p:sp>
        <p:nvSpPr>
          <p:cNvPr id="17" name="Title 1">
            <a:extLst>
              <a:ext uri="{FF2B5EF4-FFF2-40B4-BE49-F238E27FC236}">
                <a16:creationId xmlns:a16="http://schemas.microsoft.com/office/drawing/2014/main" id="{A81A1771-AE85-8809-19EC-08595D58100C}"/>
              </a:ext>
            </a:extLst>
          </p:cNvPr>
          <p:cNvSpPr txBox="1">
            <a:spLocks/>
          </p:cNvSpPr>
          <p:nvPr/>
        </p:nvSpPr>
        <p:spPr>
          <a:xfrm>
            <a:off x="944770" y="4941313"/>
            <a:ext cx="2388948" cy="317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 typeface="Arial" pitchFamily="34" charset="0"/>
              <a:buNone/>
              <a:tabLst/>
              <a:defRPr/>
            </a:pPr>
            <a:r>
              <a:rPr kumimoji="0" lang="en-US" sz="1400" b="1" i="0" u="none" strike="noStrike" kern="1200" cap="all" spc="0" normalizeH="0" baseline="0" noProof="0">
                <a:ln>
                  <a:noFill/>
                </a:ln>
                <a:effectLst/>
                <a:uLnTx/>
                <a:uFillTx/>
                <a:latin typeface="Arial Black"/>
                <a:ea typeface="+mj-ea"/>
                <a:cs typeface="Arial" panose="020B0604020202020204" pitchFamily="34" charset="0"/>
              </a:rPr>
              <a:t>Niagara Devices</a:t>
            </a:r>
          </a:p>
        </p:txBody>
      </p:sp>
      <p:sp>
        <p:nvSpPr>
          <p:cNvPr id="18" name="TextBox 17">
            <a:extLst>
              <a:ext uri="{FF2B5EF4-FFF2-40B4-BE49-F238E27FC236}">
                <a16:creationId xmlns:a16="http://schemas.microsoft.com/office/drawing/2014/main" id="{1C04C08B-C0CF-0C02-97F3-1544943C0C81}"/>
              </a:ext>
            </a:extLst>
          </p:cNvPr>
          <p:cNvSpPr txBox="1"/>
          <p:nvPr/>
        </p:nvSpPr>
        <p:spPr>
          <a:xfrm>
            <a:off x="869182" y="5146470"/>
            <a:ext cx="303411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400" b="0" i="0" u="none" strike="noStrike" kern="1200" cap="none" spc="0" normalizeH="0" baseline="0" noProof="0">
                <a:ln>
                  <a:noFill/>
                </a:ln>
                <a:effectLst/>
                <a:uLnTx/>
                <a:uFillTx/>
                <a:latin typeface="Arial"/>
                <a:ea typeface="+mn-ea"/>
                <a:cs typeface="Arial" panose="020B0604020202020204" pitchFamily="34" charset="0"/>
              </a:rPr>
              <a:t>Optimizer &amp; JACE 9000</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400" b="0" i="0" u="none" strike="noStrike" kern="1200" cap="none" spc="0" normalizeH="0" baseline="0" noProof="0">
                <a:ln>
                  <a:noFill/>
                </a:ln>
                <a:effectLst/>
                <a:uLnTx/>
                <a:uFillTx/>
                <a:latin typeface="Arial"/>
                <a:ea typeface="+mn-ea"/>
                <a:cs typeface="Arial" panose="020B0604020202020204" pitchFamily="34" charset="0"/>
              </a:rPr>
              <a:t>Up to </a:t>
            </a:r>
            <a:r>
              <a:rPr lang="en-US" sz="1400" b="1">
                <a:latin typeface="Arial"/>
                <a:cs typeface="Arial" panose="020B0604020202020204" pitchFamily="34" charset="0"/>
              </a:rPr>
              <a:t>5</a:t>
            </a:r>
            <a:r>
              <a:rPr kumimoji="0" lang="en-US" sz="1400" b="1" i="0" u="none" strike="noStrike" kern="1200" cap="none" spc="0" normalizeH="0" baseline="0" noProof="0">
                <a:ln>
                  <a:noFill/>
                </a:ln>
                <a:effectLst/>
                <a:uLnTx/>
                <a:uFillTx/>
                <a:latin typeface="Arial"/>
                <a:ea typeface="+mn-ea"/>
                <a:cs typeface="Arial" panose="020B0604020202020204" pitchFamily="34" charset="0"/>
              </a:rPr>
              <a:t>k Points </a:t>
            </a:r>
            <a:r>
              <a:rPr kumimoji="0" lang="en-US" sz="1400" b="0" i="0" u="none" strike="noStrike" kern="1200" cap="none" spc="0" normalizeH="0" baseline="0" noProof="0">
                <a:ln>
                  <a:noFill/>
                </a:ln>
                <a:effectLst/>
                <a:uLnTx/>
                <a:uFillTx/>
                <a:latin typeface="Arial"/>
                <a:ea typeface="+mn-ea"/>
                <a:cs typeface="Arial" panose="020B0604020202020204" pitchFamily="34" charset="0"/>
              </a:rPr>
              <a:t>supported </a:t>
            </a:r>
          </a:p>
        </p:txBody>
      </p:sp>
      <p:sp>
        <p:nvSpPr>
          <p:cNvPr id="23" name="Content Placeholder 2">
            <a:extLst>
              <a:ext uri="{FF2B5EF4-FFF2-40B4-BE49-F238E27FC236}">
                <a16:creationId xmlns:a16="http://schemas.microsoft.com/office/drawing/2014/main" id="{ECFAEF07-FBFD-AB13-464B-8706144FD1CA}"/>
              </a:ext>
            </a:extLst>
          </p:cNvPr>
          <p:cNvSpPr txBox="1">
            <a:spLocks/>
          </p:cNvSpPr>
          <p:nvPr/>
        </p:nvSpPr>
        <p:spPr>
          <a:xfrm>
            <a:off x="869182" y="5941551"/>
            <a:ext cx="3558978" cy="307777"/>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0" i="0" u="none" strike="noStrike" kern="1200" cap="none" spc="0" normalizeH="0" baseline="0" noProof="0">
                <a:ln>
                  <a:noFill/>
                </a:ln>
                <a:effectLst/>
                <a:uLnTx/>
                <a:uFillTx/>
                <a:latin typeface="Arial"/>
                <a:ea typeface="+mn-ea"/>
                <a:cs typeface="Arial" panose="020B0604020202020204" pitchFamily="34" charset="0"/>
              </a:rPr>
              <a:t>I</a:t>
            </a:r>
            <a:r>
              <a:rPr kumimoji="0" lang="en-US" sz="1400" b="0" i="0" u="none" strike="noStrike" kern="1200" cap="none" spc="0" normalizeH="0" baseline="0" noProof="0">
                <a:ln>
                  <a:noFill/>
                </a:ln>
                <a:effectLst/>
                <a:uLnTx/>
                <a:uFillTx/>
                <a:latin typeface="Arial"/>
                <a:ea typeface="+mn-ea"/>
                <a:cs typeface="Arial" panose="020B0604020202020204" pitchFamily="34" charset="0"/>
              </a:rPr>
              <a:t>n-built cloud connectivity </a:t>
            </a:r>
            <a:r>
              <a:rPr lang="en-US" sz="1200" b="1" i="1">
                <a:highlight>
                  <a:srgbClr val="FFFF00"/>
                </a:highlight>
                <a:latin typeface="Arial"/>
                <a:cs typeface="Arial" panose="020B0604020202020204" pitchFamily="34" charset="0"/>
              </a:rPr>
              <a:t>Coming soon</a:t>
            </a:r>
            <a:endParaRPr kumimoji="0" lang="en-US" sz="1400" b="1" i="1" u="none" strike="noStrike" kern="1200" cap="none" spc="0" normalizeH="0" baseline="0" noProof="0">
              <a:ln>
                <a:noFill/>
              </a:ln>
              <a:effectLst/>
              <a:highlight>
                <a:srgbClr val="FFFF00"/>
              </a:highlight>
              <a:uLnTx/>
              <a:uFillTx/>
              <a:latin typeface="Arial"/>
              <a:ea typeface="+mn-ea"/>
              <a:cs typeface="Arial" panose="020B0604020202020204" pitchFamily="34" charset="0"/>
            </a:endParaRPr>
          </a:p>
        </p:txBody>
      </p:sp>
      <p:sp>
        <p:nvSpPr>
          <p:cNvPr id="27" name="Rectangle 26">
            <a:extLst>
              <a:ext uri="{FF2B5EF4-FFF2-40B4-BE49-F238E27FC236}">
                <a16:creationId xmlns:a16="http://schemas.microsoft.com/office/drawing/2014/main" id="{F7F94190-BE1F-F743-7969-A8640E34EB32}"/>
              </a:ext>
            </a:extLst>
          </p:cNvPr>
          <p:cNvSpPr/>
          <p:nvPr/>
        </p:nvSpPr>
        <p:spPr>
          <a:xfrm>
            <a:off x="457168" y="1264979"/>
            <a:ext cx="4311698" cy="17526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45F03140-42BD-8AF8-D210-1CD3813C9E09}"/>
              </a:ext>
            </a:extLst>
          </p:cNvPr>
          <p:cNvSpPr/>
          <p:nvPr/>
        </p:nvSpPr>
        <p:spPr>
          <a:xfrm>
            <a:off x="457168" y="3185530"/>
            <a:ext cx="4311698" cy="3094576"/>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9" name="Rounded Rectangle 8">
            <a:extLst>
              <a:ext uri="{FF2B5EF4-FFF2-40B4-BE49-F238E27FC236}">
                <a16:creationId xmlns:a16="http://schemas.microsoft.com/office/drawing/2014/main" id="{0505C573-C4A1-6EBC-7629-9677CB171938}"/>
              </a:ext>
            </a:extLst>
          </p:cNvPr>
          <p:cNvSpPr/>
          <p:nvPr/>
        </p:nvSpPr>
        <p:spPr>
          <a:xfrm>
            <a:off x="636788" y="5787003"/>
            <a:ext cx="153320" cy="155040"/>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Black"/>
              <a:ea typeface="+mn-ea"/>
              <a:cs typeface="+mn-cs"/>
            </a:endParaRPr>
          </a:p>
        </p:txBody>
      </p:sp>
      <p:sp>
        <p:nvSpPr>
          <p:cNvPr id="10" name="Title 1">
            <a:extLst>
              <a:ext uri="{FF2B5EF4-FFF2-40B4-BE49-F238E27FC236}">
                <a16:creationId xmlns:a16="http://schemas.microsoft.com/office/drawing/2014/main" id="{42C27B69-FBF4-271A-44FC-66414D04998C}"/>
              </a:ext>
            </a:extLst>
          </p:cNvPr>
          <p:cNvSpPr txBox="1">
            <a:spLocks/>
          </p:cNvSpPr>
          <p:nvPr/>
        </p:nvSpPr>
        <p:spPr>
          <a:xfrm>
            <a:off x="5162728" y="3381197"/>
            <a:ext cx="3115067" cy="19497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1400" b="0" i="0" u="none" strike="noStrike" kern="1200" cap="all" spc="0" normalizeH="0" baseline="0" noProof="0">
                <a:ln>
                  <a:noFill/>
                </a:ln>
                <a:effectLst/>
                <a:uLnTx/>
                <a:uFillTx/>
                <a:latin typeface="Arial Black"/>
                <a:ea typeface="+mj-ea"/>
                <a:cs typeface="+mj-cs"/>
              </a:rPr>
              <a:t>Simplified workflow</a:t>
            </a:r>
            <a:endParaRPr kumimoji="0" lang="en-US" sz="1400" b="0" i="0" u="none" strike="noStrike" kern="1200" cap="all" spc="0" normalizeH="0" baseline="0" noProof="0">
              <a:ln>
                <a:noFill/>
              </a:ln>
              <a:effectLst/>
              <a:uLnTx/>
              <a:uFillTx/>
              <a:latin typeface="Arial Black"/>
              <a:ea typeface="+mj-ea"/>
              <a:cs typeface="+mj-cs"/>
            </a:endParaRPr>
          </a:p>
        </p:txBody>
      </p:sp>
      <p:sp>
        <p:nvSpPr>
          <p:cNvPr id="19" name="TextBox 18">
            <a:extLst>
              <a:ext uri="{FF2B5EF4-FFF2-40B4-BE49-F238E27FC236}">
                <a16:creationId xmlns:a16="http://schemas.microsoft.com/office/drawing/2014/main" id="{E4D2835F-2FA6-1FB2-EDB4-8A5A9D005F76}"/>
              </a:ext>
            </a:extLst>
          </p:cNvPr>
          <p:cNvSpPr txBox="1"/>
          <p:nvPr/>
        </p:nvSpPr>
        <p:spPr>
          <a:xfrm>
            <a:off x="5075956" y="3856477"/>
            <a:ext cx="128393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effectLst/>
                <a:uLnTx/>
                <a:uFillTx/>
                <a:latin typeface="Arial"/>
                <a:ea typeface="+mn-ea"/>
                <a:cs typeface="Arial" panose="020B0604020202020204" pitchFamily="34" charset="0"/>
              </a:rPr>
              <a:t>Setup Internet Settings</a:t>
            </a:r>
          </a:p>
        </p:txBody>
      </p:sp>
      <p:sp>
        <p:nvSpPr>
          <p:cNvPr id="20" name="TextBox 19">
            <a:extLst>
              <a:ext uri="{FF2B5EF4-FFF2-40B4-BE49-F238E27FC236}">
                <a16:creationId xmlns:a16="http://schemas.microsoft.com/office/drawing/2014/main" id="{6D71A9AF-0F3F-5C21-8EE2-0BB01C4DFA1B}"/>
              </a:ext>
            </a:extLst>
          </p:cNvPr>
          <p:cNvSpPr txBox="1"/>
          <p:nvPr/>
        </p:nvSpPr>
        <p:spPr>
          <a:xfrm>
            <a:off x="9026890" y="3856477"/>
            <a:ext cx="98996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effectLst/>
                <a:uLnTx/>
                <a:uFillTx/>
                <a:latin typeface="Arial"/>
                <a:ea typeface="+mn-ea"/>
                <a:cs typeface="Arial" panose="020B0604020202020204" pitchFamily="34" charset="0"/>
              </a:rPr>
              <a:t>Collect</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effectLst/>
                <a:uLnTx/>
                <a:uFillTx/>
                <a:latin typeface="Arial"/>
                <a:ea typeface="+mn-ea"/>
                <a:cs typeface="Arial" panose="020B0604020202020204" pitchFamily="34" charset="0"/>
              </a:rPr>
              <a:t>BMS Data</a:t>
            </a:r>
          </a:p>
        </p:txBody>
      </p:sp>
      <p:sp>
        <p:nvSpPr>
          <p:cNvPr id="22" name="TextBox 21">
            <a:extLst>
              <a:ext uri="{FF2B5EF4-FFF2-40B4-BE49-F238E27FC236}">
                <a16:creationId xmlns:a16="http://schemas.microsoft.com/office/drawing/2014/main" id="{37451401-7644-E4BF-F275-1D867E49A59E}"/>
              </a:ext>
            </a:extLst>
          </p:cNvPr>
          <p:cNvSpPr txBox="1"/>
          <p:nvPr/>
        </p:nvSpPr>
        <p:spPr>
          <a:xfrm>
            <a:off x="6829196" y="3856477"/>
            <a:ext cx="114310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effectLst/>
                <a:uLnTx/>
                <a:uFillTx/>
                <a:latin typeface="Arial"/>
                <a:ea typeface="+mn-ea"/>
                <a:cs typeface="Arial" panose="020B0604020202020204" pitchFamily="34" charset="0"/>
              </a:rPr>
              <a:t>Verify Internet Connection</a:t>
            </a:r>
          </a:p>
        </p:txBody>
      </p:sp>
      <p:sp>
        <p:nvSpPr>
          <p:cNvPr id="24" name="TextBox 23">
            <a:extLst>
              <a:ext uri="{FF2B5EF4-FFF2-40B4-BE49-F238E27FC236}">
                <a16:creationId xmlns:a16="http://schemas.microsoft.com/office/drawing/2014/main" id="{C6392CA6-25BC-7861-65FE-8BA8024151CB}"/>
              </a:ext>
            </a:extLst>
          </p:cNvPr>
          <p:cNvSpPr txBox="1"/>
          <p:nvPr/>
        </p:nvSpPr>
        <p:spPr>
          <a:xfrm>
            <a:off x="10780131" y="3856477"/>
            <a:ext cx="101201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a:ln>
                  <a:noFill/>
                </a:ln>
                <a:effectLst/>
                <a:uLnTx/>
                <a:uFillTx/>
                <a:latin typeface="Arial"/>
                <a:ea typeface="+mn-ea"/>
                <a:cs typeface="Arial" panose="020B0604020202020204" pitchFamily="34" charset="0"/>
              </a:rPr>
              <a:t>Sync with Cloud</a:t>
            </a:r>
          </a:p>
        </p:txBody>
      </p:sp>
      <p:cxnSp>
        <p:nvCxnSpPr>
          <p:cNvPr id="36" name="Straight Connector 35">
            <a:extLst>
              <a:ext uri="{FF2B5EF4-FFF2-40B4-BE49-F238E27FC236}">
                <a16:creationId xmlns:a16="http://schemas.microsoft.com/office/drawing/2014/main" id="{D4333279-8262-D903-5EB9-06B6524CF765}"/>
              </a:ext>
            </a:extLst>
          </p:cNvPr>
          <p:cNvCxnSpPr>
            <a:cxnSpLocks/>
          </p:cNvCxnSpPr>
          <p:nvPr/>
        </p:nvCxnSpPr>
        <p:spPr>
          <a:xfrm>
            <a:off x="6271749" y="4103865"/>
            <a:ext cx="395268"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4D719B33-1D67-B3DE-EB03-BD04337F1E36}"/>
              </a:ext>
            </a:extLst>
          </p:cNvPr>
          <p:cNvPicPr>
            <a:picLocks noChangeAspect="1"/>
          </p:cNvPicPr>
          <p:nvPr/>
        </p:nvPicPr>
        <p:blipFill>
          <a:blip r:embed="rId2"/>
          <a:srcRect t="9593"/>
          <a:stretch/>
        </p:blipFill>
        <p:spPr>
          <a:xfrm>
            <a:off x="5256468" y="4598443"/>
            <a:ext cx="2565439" cy="1449971"/>
          </a:xfrm>
          <a:prstGeom prst="rect">
            <a:avLst/>
          </a:prstGeom>
        </p:spPr>
      </p:pic>
      <p:pic>
        <p:nvPicPr>
          <p:cNvPr id="44" name="Picture 43">
            <a:extLst>
              <a:ext uri="{FF2B5EF4-FFF2-40B4-BE49-F238E27FC236}">
                <a16:creationId xmlns:a16="http://schemas.microsoft.com/office/drawing/2014/main" id="{7F6DBCBA-FD36-9F2B-432B-E5A9CEB5232D}"/>
              </a:ext>
            </a:extLst>
          </p:cNvPr>
          <p:cNvPicPr>
            <a:picLocks noChangeAspect="1"/>
          </p:cNvPicPr>
          <p:nvPr/>
        </p:nvPicPr>
        <p:blipFill>
          <a:blip r:embed="rId3"/>
          <a:srcRect l="9035" t="11857" r="10564"/>
          <a:stretch/>
        </p:blipFill>
        <p:spPr>
          <a:xfrm>
            <a:off x="8933566" y="4598443"/>
            <a:ext cx="2565481" cy="1449970"/>
          </a:xfrm>
          <a:prstGeom prst="rect">
            <a:avLst/>
          </a:prstGeom>
        </p:spPr>
      </p:pic>
      <p:cxnSp>
        <p:nvCxnSpPr>
          <p:cNvPr id="46" name="Straight Connector 45">
            <a:extLst>
              <a:ext uri="{FF2B5EF4-FFF2-40B4-BE49-F238E27FC236}">
                <a16:creationId xmlns:a16="http://schemas.microsoft.com/office/drawing/2014/main" id="{2A657DEA-2B55-6DFB-CC3D-2907064B5624}"/>
              </a:ext>
            </a:extLst>
          </p:cNvPr>
          <p:cNvCxnSpPr/>
          <p:nvPr/>
        </p:nvCxnSpPr>
        <p:spPr>
          <a:xfrm>
            <a:off x="5154338" y="4411351"/>
            <a:ext cx="278137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BA2CBC1-F16A-4E0E-326C-EB50355F8816}"/>
              </a:ext>
            </a:extLst>
          </p:cNvPr>
          <p:cNvCxnSpPr/>
          <p:nvPr/>
        </p:nvCxnSpPr>
        <p:spPr>
          <a:xfrm>
            <a:off x="8820612" y="4411351"/>
            <a:ext cx="278137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280F4F-5CE9-1933-3412-BCB6C47910EB}"/>
              </a:ext>
            </a:extLst>
          </p:cNvPr>
          <p:cNvCxnSpPr>
            <a:cxnSpLocks/>
          </p:cNvCxnSpPr>
          <p:nvPr/>
        </p:nvCxnSpPr>
        <p:spPr>
          <a:xfrm>
            <a:off x="5154338" y="3741256"/>
            <a:ext cx="644764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B96DB08-F241-04B5-7575-C6A344B1C3C9}"/>
              </a:ext>
            </a:extLst>
          </p:cNvPr>
          <p:cNvCxnSpPr>
            <a:cxnSpLocks/>
          </p:cNvCxnSpPr>
          <p:nvPr/>
        </p:nvCxnSpPr>
        <p:spPr>
          <a:xfrm>
            <a:off x="8100549" y="4103865"/>
            <a:ext cx="549282"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354F2EA-3A43-FBD9-FBDD-0B513E8F6F78}"/>
              </a:ext>
            </a:extLst>
          </p:cNvPr>
          <p:cNvCxnSpPr>
            <a:cxnSpLocks/>
          </p:cNvCxnSpPr>
          <p:nvPr/>
        </p:nvCxnSpPr>
        <p:spPr>
          <a:xfrm>
            <a:off x="10056685" y="4103865"/>
            <a:ext cx="395268"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630BE640-BA96-A4D7-23CF-D1136749873B}"/>
              </a:ext>
            </a:extLst>
          </p:cNvPr>
          <p:cNvGrpSpPr/>
          <p:nvPr/>
        </p:nvGrpSpPr>
        <p:grpSpPr>
          <a:xfrm>
            <a:off x="3623753" y="1503337"/>
            <a:ext cx="979098" cy="1173911"/>
            <a:chOff x="3371467" y="3767403"/>
            <a:chExt cx="691349" cy="828907"/>
          </a:xfrm>
        </p:grpSpPr>
        <p:pic>
          <p:nvPicPr>
            <p:cNvPr id="54" name="Picture 2" descr="Tridium | Niagara 4 — Custom Controls Group">
              <a:extLst>
                <a:ext uri="{FF2B5EF4-FFF2-40B4-BE49-F238E27FC236}">
                  <a16:creationId xmlns:a16="http://schemas.microsoft.com/office/drawing/2014/main" id="{7AD6B901-15F1-EB2D-19BC-4580FE35E73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18264" y="3767403"/>
              <a:ext cx="602320" cy="36139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oneywell | EBI - Telaeris, Inc.">
              <a:extLst>
                <a:ext uri="{FF2B5EF4-FFF2-40B4-BE49-F238E27FC236}">
                  <a16:creationId xmlns:a16="http://schemas.microsoft.com/office/drawing/2014/main" id="{EB88DB0A-6B3B-4883-D647-C8B3A177868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42711" y="4135729"/>
              <a:ext cx="548863" cy="19508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lerton | Hoffman Building Technologies">
              <a:extLst>
                <a:ext uri="{FF2B5EF4-FFF2-40B4-BE49-F238E27FC236}">
                  <a16:creationId xmlns:a16="http://schemas.microsoft.com/office/drawing/2014/main" id="{8E68842A-D19F-122E-ACD7-726CEF021C8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3371467" y="4401223"/>
              <a:ext cx="691349" cy="195087"/>
            </a:xfrm>
            <a:prstGeom prst="rect">
              <a:avLst/>
            </a:prstGeom>
            <a:noFill/>
            <a:extLst>
              <a:ext uri="{909E8E84-426E-40DD-AFC4-6F175D3DCCD1}">
                <a14:hiddenFill xmlns:a14="http://schemas.microsoft.com/office/drawing/2010/main">
                  <a:solidFill>
                    <a:srgbClr val="FFFFFF"/>
                  </a:solidFill>
                </a14:hiddenFill>
              </a:ext>
            </a:extLst>
          </p:spPr>
        </p:pic>
      </p:grpSp>
      <p:sp>
        <p:nvSpPr>
          <p:cNvPr id="58" name="TextBox 57">
            <a:extLst>
              <a:ext uri="{FF2B5EF4-FFF2-40B4-BE49-F238E27FC236}">
                <a16:creationId xmlns:a16="http://schemas.microsoft.com/office/drawing/2014/main" id="{584EEC88-4CE2-39AF-6BC2-AC0A79276926}"/>
              </a:ext>
            </a:extLst>
          </p:cNvPr>
          <p:cNvSpPr txBox="1"/>
          <p:nvPr/>
        </p:nvSpPr>
        <p:spPr>
          <a:xfrm>
            <a:off x="5075956" y="6280106"/>
            <a:ext cx="3692668"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700" b="0" i="1" u="none" strike="noStrike" kern="1200" cap="none" spc="0" normalizeH="0" baseline="0" noProof="0">
                <a:ln>
                  <a:noFill/>
                </a:ln>
                <a:effectLst/>
                <a:uLnTx/>
                <a:uFillTx/>
                <a:latin typeface="Arial"/>
                <a:ea typeface="+mn-ea"/>
                <a:cs typeface="Arial" panose="020B0604020202020204" pitchFamily="34" charset="0"/>
              </a:rPr>
              <a:t>*Screenshots showcase Niagara based GW Workflows</a:t>
            </a:r>
          </a:p>
        </p:txBody>
      </p:sp>
      <p:sp>
        <p:nvSpPr>
          <p:cNvPr id="15" name="Title 1">
            <a:extLst>
              <a:ext uri="{FF2B5EF4-FFF2-40B4-BE49-F238E27FC236}">
                <a16:creationId xmlns:a16="http://schemas.microsoft.com/office/drawing/2014/main" id="{5D04BD0E-FF49-1D16-4FDB-3C252A1F0BA7}"/>
              </a:ext>
            </a:extLst>
          </p:cNvPr>
          <p:cNvSpPr>
            <a:spLocks noGrp="1"/>
          </p:cNvSpPr>
          <p:nvPr>
            <p:ph type="title"/>
          </p:nvPr>
        </p:nvSpPr>
        <p:spPr>
          <a:xfrm>
            <a:off x="990599" y="385346"/>
            <a:ext cx="11201401" cy="411592"/>
          </a:xfrm>
        </p:spPr>
        <p:txBody>
          <a:bodyPr/>
          <a:lstStyle/>
          <a:p>
            <a:r>
              <a:rPr lang="en-US"/>
              <a:t>connectivity</a:t>
            </a:r>
          </a:p>
        </p:txBody>
      </p:sp>
      <p:sp>
        <p:nvSpPr>
          <p:cNvPr id="26" name="Oval 25">
            <a:extLst>
              <a:ext uri="{FF2B5EF4-FFF2-40B4-BE49-F238E27FC236}">
                <a16:creationId xmlns:a16="http://schemas.microsoft.com/office/drawing/2014/main" id="{7CA7F4C9-3F3D-1351-0AB1-5758B8830A22}"/>
              </a:ext>
            </a:extLst>
          </p:cNvPr>
          <p:cNvSpPr/>
          <p:nvPr/>
        </p:nvSpPr>
        <p:spPr>
          <a:xfrm>
            <a:off x="495298" y="338328"/>
            <a:ext cx="406070" cy="4060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2 </a:t>
            </a:r>
          </a:p>
        </p:txBody>
      </p:sp>
      <p:sp>
        <p:nvSpPr>
          <p:cNvPr id="5" name="Rectangle 4">
            <a:extLst>
              <a:ext uri="{FF2B5EF4-FFF2-40B4-BE49-F238E27FC236}">
                <a16:creationId xmlns:a16="http://schemas.microsoft.com/office/drawing/2014/main" id="{078F0472-1D12-332A-6A3B-F2A316E6D7C5}"/>
              </a:ext>
            </a:extLst>
          </p:cNvPr>
          <p:cNvSpPr/>
          <p:nvPr/>
        </p:nvSpPr>
        <p:spPr>
          <a:xfrm>
            <a:off x="5072556" y="3358659"/>
            <a:ext cx="45719" cy="194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33" name="Picture 32">
            <a:extLst>
              <a:ext uri="{FF2B5EF4-FFF2-40B4-BE49-F238E27FC236}">
                <a16:creationId xmlns:a16="http://schemas.microsoft.com/office/drawing/2014/main" id="{4AC92F2E-48E2-28E6-FBDF-C90F53F7E3A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69573" y="3510827"/>
            <a:ext cx="2066896" cy="1331770"/>
          </a:xfrm>
          <a:prstGeom prst="rect">
            <a:avLst/>
          </a:prstGeom>
        </p:spPr>
      </p:pic>
      <p:sp>
        <p:nvSpPr>
          <p:cNvPr id="13" name="Rounded Rectangle 11">
            <a:extLst>
              <a:ext uri="{FF2B5EF4-FFF2-40B4-BE49-F238E27FC236}">
                <a16:creationId xmlns:a16="http://schemas.microsoft.com/office/drawing/2014/main" id="{EFAA9623-A6B1-5DC1-53BD-CC76065A4552}"/>
              </a:ext>
            </a:extLst>
          </p:cNvPr>
          <p:cNvSpPr/>
          <p:nvPr/>
        </p:nvSpPr>
        <p:spPr>
          <a:xfrm>
            <a:off x="636312" y="3779849"/>
            <a:ext cx="153320" cy="155040"/>
          </a:xfrm>
          <a:prstGeom prst="roundRect">
            <a:avLst/>
          </a:prstGeom>
          <a:solidFill>
            <a:schemeClr val="accent1"/>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Black"/>
              <a:ea typeface="+mn-ea"/>
              <a:cs typeface="+mn-cs"/>
            </a:endParaRPr>
          </a:p>
        </p:txBody>
      </p:sp>
      <p:sp>
        <p:nvSpPr>
          <p:cNvPr id="14" name="Title 1">
            <a:extLst>
              <a:ext uri="{FF2B5EF4-FFF2-40B4-BE49-F238E27FC236}">
                <a16:creationId xmlns:a16="http://schemas.microsoft.com/office/drawing/2014/main" id="{62B29EF5-A9D4-F38C-A1E9-4D42D2AB41CA}"/>
              </a:ext>
            </a:extLst>
          </p:cNvPr>
          <p:cNvSpPr txBox="1">
            <a:spLocks/>
          </p:cNvSpPr>
          <p:nvPr/>
        </p:nvSpPr>
        <p:spPr>
          <a:xfrm>
            <a:off x="939037" y="3779849"/>
            <a:ext cx="2684715" cy="317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 typeface="Arial" pitchFamily="34" charset="0"/>
              <a:buNone/>
              <a:tabLst/>
              <a:defRPr/>
            </a:pPr>
            <a:r>
              <a:rPr kumimoji="0" lang="en-US" sz="1400" b="1" i="0" u="none" strike="noStrike" kern="1200" cap="all" spc="0" normalizeH="0" baseline="0" noProof="0">
                <a:ln>
                  <a:noFill/>
                </a:ln>
                <a:effectLst/>
                <a:uLnTx/>
                <a:uFillTx/>
                <a:latin typeface="Arial Black"/>
                <a:ea typeface="+mj-ea"/>
                <a:cs typeface="Arial" panose="020B0604020202020204" pitchFamily="34" charset="0"/>
              </a:rPr>
              <a:t>Forge gateway (NEW!)</a:t>
            </a:r>
          </a:p>
        </p:txBody>
      </p:sp>
    </p:spTree>
    <p:extLst>
      <p:ext uri="{BB962C8B-B14F-4D97-AF65-F5344CB8AC3E}">
        <p14:creationId xmlns:p14="http://schemas.microsoft.com/office/powerpoint/2010/main" val="17054275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025BA4-64BD-568E-F673-BFA4FBB925C9}"/>
            </a:ext>
          </a:extLst>
        </p:cNvPr>
        <p:cNvGrpSpPr/>
        <p:nvPr/>
      </p:nvGrpSpPr>
      <p:grpSpPr>
        <a:xfrm>
          <a:off x="0" y="0"/>
          <a:ext cx="0" cy="0"/>
          <a:chOff x="0" y="0"/>
          <a:chExt cx="0" cy="0"/>
        </a:xfrm>
      </p:grpSpPr>
      <p:grpSp>
        <p:nvGrpSpPr>
          <p:cNvPr id="32" name="Group 20">
            <a:extLst>
              <a:ext uri="{FF2B5EF4-FFF2-40B4-BE49-F238E27FC236}">
                <a16:creationId xmlns:a16="http://schemas.microsoft.com/office/drawing/2014/main" id="{AF3CF82D-BB68-FA95-D4B7-129127E755E5}"/>
              </a:ext>
            </a:extLst>
          </p:cNvPr>
          <p:cNvGrpSpPr/>
          <p:nvPr/>
        </p:nvGrpSpPr>
        <p:grpSpPr>
          <a:xfrm>
            <a:off x="822711" y="1399948"/>
            <a:ext cx="2432945" cy="1673230"/>
            <a:chOff x="2094899" y="1081795"/>
            <a:chExt cx="4400683" cy="3501414"/>
          </a:xfrm>
          <a:effectLst/>
        </p:grpSpPr>
        <p:sp>
          <p:nvSpPr>
            <p:cNvPr id="33" name="Rectangle 32">
              <a:extLst>
                <a:ext uri="{FF2B5EF4-FFF2-40B4-BE49-F238E27FC236}">
                  <a16:creationId xmlns:a16="http://schemas.microsoft.com/office/drawing/2014/main" id="{A112EBFB-DE10-2A7B-A1AC-77ADF7FBF94D}"/>
                </a:ext>
              </a:extLst>
            </p:cNvPr>
            <p:cNvSpPr/>
            <p:nvPr/>
          </p:nvSpPr>
          <p:spPr>
            <a:xfrm>
              <a:off x="2285399" y="1247618"/>
              <a:ext cx="4008120"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Freeform 5">
              <a:extLst>
                <a:ext uri="{FF2B5EF4-FFF2-40B4-BE49-F238E27FC236}">
                  <a16:creationId xmlns:a16="http://schemas.microsoft.com/office/drawing/2014/main" id="{2BAC5702-B0AC-4CDF-9831-C1E8BE8AF5A1}"/>
                </a:ext>
              </a:extLst>
            </p:cNvPr>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75000"/>
                <a:lumOff val="2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5" name="Freeform 27">
              <a:extLst>
                <a:ext uri="{FF2B5EF4-FFF2-40B4-BE49-F238E27FC236}">
                  <a16:creationId xmlns:a16="http://schemas.microsoft.com/office/drawing/2014/main" id="{F26F7967-943C-DB2F-B188-6BFC11A6C779}"/>
                </a:ext>
              </a:extLst>
            </p:cNvPr>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121920" tIns="60960" rIns="121920" bIns="60960" numCol="1" anchor="t" anchorCtr="0" compatLnSpc="1">
              <a:prstTxWarp prst="textNoShape">
                <a:avLst/>
              </a:prstTxWarp>
            </a:bodyPr>
            <a:lstStyle/>
            <a:p>
              <a:r>
                <a:rPr lang="en-US" sz="2400"/>
                <a:t> </a:t>
              </a:r>
            </a:p>
          </p:txBody>
        </p:sp>
        <p:sp>
          <p:nvSpPr>
            <p:cNvPr id="36" name="Freeform 47">
              <a:extLst>
                <a:ext uri="{FF2B5EF4-FFF2-40B4-BE49-F238E27FC236}">
                  <a16:creationId xmlns:a16="http://schemas.microsoft.com/office/drawing/2014/main" id="{9987E4F2-33CF-EFA7-B93A-0AFEDD4523D4}"/>
                </a:ext>
              </a:extLst>
            </p:cNvPr>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5" name="Title 4">
            <a:extLst>
              <a:ext uri="{FF2B5EF4-FFF2-40B4-BE49-F238E27FC236}">
                <a16:creationId xmlns:a16="http://schemas.microsoft.com/office/drawing/2014/main" id="{3FB7809F-C24C-5F97-23A8-48BFA8A85C31}"/>
              </a:ext>
            </a:extLst>
          </p:cNvPr>
          <p:cNvSpPr>
            <a:spLocks noGrp="1"/>
          </p:cNvSpPr>
          <p:nvPr>
            <p:ph type="title"/>
          </p:nvPr>
        </p:nvSpPr>
        <p:spPr>
          <a:xfrm>
            <a:off x="1083662" y="449072"/>
            <a:ext cx="6620158" cy="353174"/>
          </a:xfrm>
        </p:spPr>
        <p:txBody>
          <a:bodyPr/>
          <a:lstStyle/>
          <a:p>
            <a:r>
              <a:rPr lang="en-US" sz="2800"/>
              <a:t>Onboarding – partner portal</a:t>
            </a:r>
            <a:endParaRPr lang="en-GB" sz="2800"/>
          </a:p>
        </p:txBody>
      </p:sp>
      <p:sp>
        <p:nvSpPr>
          <p:cNvPr id="4" name="Slide Number Placeholder 3">
            <a:extLst>
              <a:ext uri="{FF2B5EF4-FFF2-40B4-BE49-F238E27FC236}">
                <a16:creationId xmlns:a16="http://schemas.microsoft.com/office/drawing/2014/main" id="{9A8BA202-EF59-697B-BFE9-2FBA9AA7220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3" name="Oval 2">
            <a:extLst>
              <a:ext uri="{FF2B5EF4-FFF2-40B4-BE49-F238E27FC236}">
                <a16:creationId xmlns:a16="http://schemas.microsoft.com/office/drawing/2014/main" id="{431BB5FD-1F60-08FB-F644-F29B10B8E4A4}"/>
              </a:ext>
            </a:extLst>
          </p:cNvPr>
          <p:cNvSpPr/>
          <p:nvPr/>
        </p:nvSpPr>
        <p:spPr>
          <a:xfrm>
            <a:off x="495298" y="338328"/>
            <a:ext cx="406070" cy="4060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3 </a:t>
            </a:r>
          </a:p>
        </p:txBody>
      </p:sp>
      <p:grpSp>
        <p:nvGrpSpPr>
          <p:cNvPr id="8" name="Group 7">
            <a:extLst>
              <a:ext uri="{FF2B5EF4-FFF2-40B4-BE49-F238E27FC236}">
                <a16:creationId xmlns:a16="http://schemas.microsoft.com/office/drawing/2014/main" id="{73CD4DD3-F7A5-005A-D0FF-BDB7F9BB6918}"/>
              </a:ext>
            </a:extLst>
          </p:cNvPr>
          <p:cNvGrpSpPr/>
          <p:nvPr/>
        </p:nvGrpSpPr>
        <p:grpSpPr>
          <a:xfrm>
            <a:off x="1701801" y="2777095"/>
            <a:ext cx="2646089" cy="1269452"/>
            <a:chOff x="990600" y="1272983"/>
            <a:chExt cx="1984567" cy="952089"/>
          </a:xfrm>
        </p:grpSpPr>
        <p:sp>
          <p:nvSpPr>
            <p:cNvPr id="9" name="Rounded Rectangle 5">
              <a:extLst>
                <a:ext uri="{FF2B5EF4-FFF2-40B4-BE49-F238E27FC236}">
                  <a16:creationId xmlns:a16="http://schemas.microsoft.com/office/drawing/2014/main" id="{ED9FBFE4-A224-913F-47AB-2E545DBC059D}"/>
                </a:ext>
              </a:extLst>
            </p:cNvPr>
            <p:cNvSpPr/>
            <p:nvPr/>
          </p:nvSpPr>
          <p:spPr>
            <a:xfrm>
              <a:off x="990600" y="1733550"/>
              <a:ext cx="1905000" cy="304800"/>
            </a:xfrm>
            <a:prstGeom prst="roundRect">
              <a:avLst>
                <a:gd name="adj" fmla="val 5000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ounded Rectangle 6">
              <a:extLst>
                <a:ext uri="{FF2B5EF4-FFF2-40B4-BE49-F238E27FC236}">
                  <a16:creationId xmlns:a16="http://schemas.microsoft.com/office/drawing/2014/main" id="{7A3FCCA9-92CD-C2C8-0619-04791AB0B03C}"/>
                </a:ext>
              </a:extLst>
            </p:cNvPr>
            <p:cNvSpPr/>
            <p:nvPr/>
          </p:nvSpPr>
          <p:spPr>
            <a:xfrm rot="2700000">
              <a:off x="2132204" y="1542065"/>
              <a:ext cx="842963" cy="304800"/>
            </a:xfrm>
            <a:prstGeom prst="roundRect">
              <a:avLst>
                <a:gd name="adj" fmla="val 5000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ounded Rectangle 7">
              <a:extLst>
                <a:ext uri="{FF2B5EF4-FFF2-40B4-BE49-F238E27FC236}">
                  <a16:creationId xmlns:a16="http://schemas.microsoft.com/office/drawing/2014/main" id="{C2007E8C-8BA4-B070-6D74-1CE91403C990}"/>
                </a:ext>
              </a:extLst>
            </p:cNvPr>
            <p:cNvSpPr/>
            <p:nvPr/>
          </p:nvSpPr>
          <p:spPr>
            <a:xfrm rot="18900000" flipV="1">
              <a:off x="2132204" y="1920272"/>
              <a:ext cx="842963" cy="304800"/>
            </a:xfrm>
            <a:prstGeom prst="roundRect">
              <a:avLst>
                <a:gd name="adj" fmla="val 5000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12" name="Group 11">
            <a:extLst>
              <a:ext uri="{FF2B5EF4-FFF2-40B4-BE49-F238E27FC236}">
                <a16:creationId xmlns:a16="http://schemas.microsoft.com/office/drawing/2014/main" id="{3F8AD693-DCE4-360D-4C25-B8E9F94FD40E}"/>
              </a:ext>
            </a:extLst>
          </p:cNvPr>
          <p:cNvGrpSpPr/>
          <p:nvPr/>
        </p:nvGrpSpPr>
        <p:grpSpPr>
          <a:xfrm>
            <a:off x="5293216" y="2732539"/>
            <a:ext cx="2643765" cy="1269452"/>
            <a:chOff x="992343" y="1272983"/>
            <a:chExt cx="1982824" cy="952089"/>
          </a:xfrm>
          <a:solidFill>
            <a:schemeClr val="accent2">
              <a:alpha val="50000"/>
            </a:schemeClr>
          </a:solidFill>
        </p:grpSpPr>
        <p:sp>
          <p:nvSpPr>
            <p:cNvPr id="13" name="Rounded Rectangle 9">
              <a:extLst>
                <a:ext uri="{FF2B5EF4-FFF2-40B4-BE49-F238E27FC236}">
                  <a16:creationId xmlns:a16="http://schemas.microsoft.com/office/drawing/2014/main" id="{CE12F90D-56E9-AC1D-FF50-D2015B646C08}"/>
                </a:ext>
              </a:extLst>
            </p:cNvPr>
            <p:cNvSpPr/>
            <p:nvPr/>
          </p:nvSpPr>
          <p:spPr>
            <a:xfrm>
              <a:off x="992343" y="1733550"/>
              <a:ext cx="1903257" cy="3048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Rounded Rectangle 10">
              <a:extLst>
                <a:ext uri="{FF2B5EF4-FFF2-40B4-BE49-F238E27FC236}">
                  <a16:creationId xmlns:a16="http://schemas.microsoft.com/office/drawing/2014/main" id="{67B5053B-6934-6199-B28F-D72B39B3539B}"/>
                </a:ext>
              </a:extLst>
            </p:cNvPr>
            <p:cNvSpPr/>
            <p:nvPr/>
          </p:nvSpPr>
          <p:spPr>
            <a:xfrm rot="2700000">
              <a:off x="2132204" y="1542065"/>
              <a:ext cx="842963" cy="3048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Rounded Rectangle 11">
              <a:extLst>
                <a:ext uri="{FF2B5EF4-FFF2-40B4-BE49-F238E27FC236}">
                  <a16:creationId xmlns:a16="http://schemas.microsoft.com/office/drawing/2014/main" id="{585B38AE-0557-5697-DC12-86268BC50FA2}"/>
                </a:ext>
              </a:extLst>
            </p:cNvPr>
            <p:cNvSpPr/>
            <p:nvPr/>
          </p:nvSpPr>
          <p:spPr>
            <a:xfrm rot="18900000" flipV="1">
              <a:off x="2132204" y="1920272"/>
              <a:ext cx="842963" cy="3048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16" name="Group 15">
            <a:extLst>
              <a:ext uri="{FF2B5EF4-FFF2-40B4-BE49-F238E27FC236}">
                <a16:creationId xmlns:a16="http://schemas.microsoft.com/office/drawing/2014/main" id="{FF3EA0D0-C771-EB97-3076-B285B22E289B}"/>
              </a:ext>
            </a:extLst>
          </p:cNvPr>
          <p:cNvGrpSpPr/>
          <p:nvPr/>
        </p:nvGrpSpPr>
        <p:grpSpPr>
          <a:xfrm>
            <a:off x="8641008" y="2798010"/>
            <a:ext cx="2643765" cy="1269452"/>
            <a:chOff x="992343" y="1272983"/>
            <a:chExt cx="1982824" cy="952089"/>
          </a:xfrm>
        </p:grpSpPr>
        <p:sp>
          <p:nvSpPr>
            <p:cNvPr id="17" name="Rounded Rectangle 13">
              <a:extLst>
                <a:ext uri="{FF2B5EF4-FFF2-40B4-BE49-F238E27FC236}">
                  <a16:creationId xmlns:a16="http://schemas.microsoft.com/office/drawing/2014/main" id="{7FC6118D-45E5-DF84-5864-A288ED68BD32}"/>
                </a:ext>
              </a:extLst>
            </p:cNvPr>
            <p:cNvSpPr/>
            <p:nvPr/>
          </p:nvSpPr>
          <p:spPr>
            <a:xfrm>
              <a:off x="992343" y="1733550"/>
              <a:ext cx="1903257" cy="304800"/>
            </a:xfrm>
            <a:prstGeom prst="roundRect">
              <a:avLst>
                <a:gd name="adj" fmla="val 50000"/>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Rounded Rectangle 14">
              <a:extLst>
                <a:ext uri="{FF2B5EF4-FFF2-40B4-BE49-F238E27FC236}">
                  <a16:creationId xmlns:a16="http://schemas.microsoft.com/office/drawing/2014/main" id="{4994C89E-A85D-F41B-06FC-8E7961286C6D}"/>
                </a:ext>
              </a:extLst>
            </p:cNvPr>
            <p:cNvSpPr/>
            <p:nvPr/>
          </p:nvSpPr>
          <p:spPr>
            <a:xfrm rot="2700000">
              <a:off x="2132204" y="1542065"/>
              <a:ext cx="842963" cy="304800"/>
            </a:xfrm>
            <a:prstGeom prst="roundRect">
              <a:avLst>
                <a:gd name="adj" fmla="val 50000"/>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Rounded Rectangle 15">
              <a:extLst>
                <a:ext uri="{FF2B5EF4-FFF2-40B4-BE49-F238E27FC236}">
                  <a16:creationId xmlns:a16="http://schemas.microsoft.com/office/drawing/2014/main" id="{B3AD9763-05D0-F58B-7155-0270D0446807}"/>
                </a:ext>
              </a:extLst>
            </p:cNvPr>
            <p:cNvSpPr/>
            <p:nvPr/>
          </p:nvSpPr>
          <p:spPr>
            <a:xfrm rot="18900000" flipV="1">
              <a:off x="2132204" y="1920272"/>
              <a:ext cx="842963" cy="304800"/>
            </a:xfrm>
            <a:prstGeom prst="roundRect">
              <a:avLst>
                <a:gd name="adj" fmla="val 50000"/>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1" name="TextBox 20">
            <a:extLst>
              <a:ext uri="{FF2B5EF4-FFF2-40B4-BE49-F238E27FC236}">
                <a16:creationId xmlns:a16="http://schemas.microsoft.com/office/drawing/2014/main" id="{7C081711-55B0-244D-5CD7-0C95398B657C}"/>
              </a:ext>
            </a:extLst>
          </p:cNvPr>
          <p:cNvSpPr txBox="1"/>
          <p:nvPr/>
        </p:nvSpPr>
        <p:spPr>
          <a:xfrm>
            <a:off x="1642897" y="3408693"/>
            <a:ext cx="550151" cy="420564"/>
          </a:xfrm>
          <a:prstGeom prst="rect">
            <a:avLst/>
          </a:prstGeom>
          <a:noFill/>
        </p:spPr>
        <p:txBody>
          <a:bodyPr wrap="none" rtlCol="0">
            <a:spAutoFit/>
          </a:bodyPr>
          <a:lstStyle/>
          <a:p>
            <a:pPr algn="ctr"/>
            <a:r>
              <a:rPr lang="en-US" sz="2133" b="1">
                <a:solidFill>
                  <a:schemeClr val="bg1"/>
                </a:solidFill>
                <a:latin typeface="+mj-lt"/>
              </a:rPr>
              <a:t>01</a:t>
            </a:r>
          </a:p>
        </p:txBody>
      </p:sp>
      <p:sp>
        <p:nvSpPr>
          <p:cNvPr id="22" name="TextBox 21">
            <a:extLst>
              <a:ext uri="{FF2B5EF4-FFF2-40B4-BE49-F238E27FC236}">
                <a16:creationId xmlns:a16="http://schemas.microsoft.com/office/drawing/2014/main" id="{A0FA099A-9DCF-40E9-D303-426785A7A6E4}"/>
              </a:ext>
            </a:extLst>
          </p:cNvPr>
          <p:cNvSpPr txBox="1"/>
          <p:nvPr/>
        </p:nvSpPr>
        <p:spPr>
          <a:xfrm>
            <a:off x="5223739" y="3378476"/>
            <a:ext cx="550151" cy="420564"/>
          </a:xfrm>
          <a:prstGeom prst="rect">
            <a:avLst/>
          </a:prstGeom>
          <a:noFill/>
        </p:spPr>
        <p:txBody>
          <a:bodyPr wrap="none" rtlCol="0">
            <a:spAutoFit/>
          </a:bodyPr>
          <a:lstStyle/>
          <a:p>
            <a:pPr algn="ctr"/>
            <a:r>
              <a:rPr lang="en-US" sz="2133" b="1">
                <a:solidFill>
                  <a:schemeClr val="bg1"/>
                </a:solidFill>
                <a:latin typeface="+mj-lt"/>
              </a:rPr>
              <a:t>02</a:t>
            </a:r>
          </a:p>
        </p:txBody>
      </p:sp>
      <p:sp>
        <p:nvSpPr>
          <p:cNvPr id="23" name="TextBox 22">
            <a:extLst>
              <a:ext uri="{FF2B5EF4-FFF2-40B4-BE49-F238E27FC236}">
                <a16:creationId xmlns:a16="http://schemas.microsoft.com/office/drawing/2014/main" id="{3CBAB7E0-BF65-54B4-BDAD-4BFDC38B85A3}"/>
              </a:ext>
            </a:extLst>
          </p:cNvPr>
          <p:cNvSpPr txBox="1"/>
          <p:nvPr/>
        </p:nvSpPr>
        <p:spPr>
          <a:xfrm>
            <a:off x="8603889" y="3431028"/>
            <a:ext cx="550151" cy="420564"/>
          </a:xfrm>
          <a:prstGeom prst="rect">
            <a:avLst/>
          </a:prstGeom>
          <a:noFill/>
        </p:spPr>
        <p:txBody>
          <a:bodyPr wrap="none" rtlCol="0">
            <a:spAutoFit/>
          </a:bodyPr>
          <a:lstStyle/>
          <a:p>
            <a:pPr algn="ctr"/>
            <a:r>
              <a:rPr lang="en-US" sz="2133" b="1">
                <a:solidFill>
                  <a:schemeClr val="bg1"/>
                </a:solidFill>
                <a:latin typeface="+mj-lt"/>
              </a:rPr>
              <a:t>03</a:t>
            </a:r>
          </a:p>
        </p:txBody>
      </p:sp>
      <p:sp>
        <p:nvSpPr>
          <p:cNvPr id="24" name="Inhaltsplatzhalter 4">
            <a:extLst>
              <a:ext uri="{FF2B5EF4-FFF2-40B4-BE49-F238E27FC236}">
                <a16:creationId xmlns:a16="http://schemas.microsoft.com/office/drawing/2014/main" id="{31BA8120-F012-AAEC-B7D9-ACE4D051FF46}"/>
              </a:ext>
            </a:extLst>
          </p:cNvPr>
          <p:cNvSpPr txBox="1">
            <a:spLocks/>
          </p:cNvSpPr>
          <p:nvPr/>
        </p:nvSpPr>
        <p:spPr>
          <a:xfrm>
            <a:off x="833213" y="4193739"/>
            <a:ext cx="2432945" cy="239956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914400">
              <a:spcAft>
                <a:spcPts val="600"/>
              </a:spcAft>
              <a:buFont typeface="Arial" panose="020B0604020202020204" pitchFamily="34" charset="0"/>
              <a:buChar char="•"/>
              <a:defRPr/>
            </a:pPr>
            <a:r>
              <a:rPr lang="en-GB" sz="1400" b="1">
                <a:solidFill>
                  <a:schemeClr val="tx1"/>
                </a:solidFill>
                <a:latin typeface="Arial"/>
              </a:rPr>
              <a:t>Cockpit view </a:t>
            </a:r>
            <a:r>
              <a:rPr lang="en-GB" sz="1400">
                <a:solidFill>
                  <a:schemeClr val="tx1"/>
                </a:solidFill>
                <a:latin typeface="Arial"/>
              </a:rPr>
              <a:t>for partners to look </a:t>
            </a:r>
            <a:br>
              <a:rPr lang="en-GB" sz="1400">
                <a:solidFill>
                  <a:schemeClr val="tx1"/>
                </a:solidFill>
                <a:latin typeface="Arial"/>
              </a:rPr>
            </a:br>
            <a:r>
              <a:rPr lang="en-GB" sz="1400">
                <a:solidFill>
                  <a:schemeClr val="tx1"/>
                </a:solidFill>
                <a:latin typeface="Arial"/>
              </a:rPr>
              <a:t>at overall portfolio of sites</a:t>
            </a:r>
          </a:p>
          <a:p>
            <a:pPr marL="285750" lvl="1" indent="-285750" defTabSz="914400">
              <a:spcAft>
                <a:spcPts val="600"/>
              </a:spcAft>
              <a:buFont typeface="Arial" panose="020B0604020202020204" pitchFamily="34" charset="0"/>
              <a:buChar char="•"/>
              <a:defRPr/>
            </a:pPr>
            <a:r>
              <a:rPr lang="en-GB" sz="1400">
                <a:solidFill>
                  <a:schemeClr val="tx1"/>
                </a:solidFill>
                <a:latin typeface="Arial"/>
              </a:rPr>
              <a:t>Online/ Offline sites</a:t>
            </a:r>
          </a:p>
          <a:p>
            <a:pPr marL="285750" lvl="1" indent="-285750" defTabSz="914400">
              <a:spcAft>
                <a:spcPts val="600"/>
              </a:spcAft>
              <a:buFont typeface="Arial" panose="020B0604020202020204" pitchFamily="34" charset="0"/>
              <a:buChar char="•"/>
              <a:defRPr/>
            </a:pPr>
            <a:r>
              <a:rPr lang="en-GB" sz="1400">
                <a:solidFill>
                  <a:schemeClr val="tx1"/>
                </a:solidFill>
                <a:latin typeface="Arial"/>
              </a:rPr>
              <a:t>Subscription status &amp; renewals</a:t>
            </a:r>
          </a:p>
          <a:p>
            <a:pPr marL="285750" lvl="1" indent="-285750" defTabSz="914400">
              <a:spcAft>
                <a:spcPts val="600"/>
              </a:spcAft>
              <a:buFont typeface="Arial" panose="020B0604020202020204" pitchFamily="34" charset="0"/>
              <a:buChar char="•"/>
              <a:defRPr/>
            </a:pPr>
            <a:r>
              <a:rPr lang="en-GB" sz="1400">
                <a:solidFill>
                  <a:schemeClr val="tx1"/>
                </a:solidFill>
                <a:latin typeface="Arial"/>
              </a:rPr>
              <a:t>Trends</a:t>
            </a:r>
          </a:p>
          <a:p>
            <a:pPr defTabSz="914400">
              <a:spcAft>
                <a:spcPts val="600"/>
              </a:spcAft>
              <a:buFont typeface="Arial" panose="020B0604020202020204" pitchFamily="34" charset="0"/>
              <a:buChar char="•"/>
              <a:defRPr/>
            </a:pPr>
            <a:r>
              <a:rPr lang="en-GB" sz="1400" b="1">
                <a:solidFill>
                  <a:schemeClr val="tx1"/>
                </a:solidFill>
                <a:latin typeface="Arial"/>
              </a:rPr>
              <a:t>Remote connectivity </a:t>
            </a:r>
            <a:r>
              <a:rPr lang="en-GB" sz="1400">
                <a:solidFill>
                  <a:schemeClr val="tx1"/>
                </a:solidFill>
                <a:latin typeface="Arial"/>
              </a:rPr>
              <a:t>with gateway on site.  </a:t>
            </a:r>
          </a:p>
          <a:p>
            <a:pPr marL="0" indent="0" algn="ctr">
              <a:lnSpc>
                <a:spcPct val="150000"/>
              </a:lnSpc>
              <a:buNone/>
            </a:pPr>
            <a:endParaRPr lang="en-US" sz="1333">
              <a:solidFill>
                <a:schemeClr val="tx1"/>
              </a:solidFill>
              <a:latin typeface="+mn-lt"/>
            </a:endParaRPr>
          </a:p>
        </p:txBody>
      </p:sp>
      <p:pic>
        <p:nvPicPr>
          <p:cNvPr id="29" name="Picture 28">
            <a:extLst>
              <a:ext uri="{FF2B5EF4-FFF2-40B4-BE49-F238E27FC236}">
                <a16:creationId xmlns:a16="http://schemas.microsoft.com/office/drawing/2014/main" id="{EFDE6DC7-5215-74A8-492C-BFE5DA6F82CC}"/>
              </a:ext>
            </a:extLst>
          </p:cNvPr>
          <p:cNvPicPr>
            <a:picLocks noChangeAspect="1"/>
          </p:cNvPicPr>
          <p:nvPr/>
        </p:nvPicPr>
        <p:blipFill>
          <a:blip r:embed="rId3"/>
          <a:stretch>
            <a:fillRect/>
          </a:stretch>
        </p:blipFill>
        <p:spPr>
          <a:xfrm>
            <a:off x="896500" y="1433209"/>
            <a:ext cx="2272844" cy="1309811"/>
          </a:xfrm>
          <a:prstGeom prst="rect">
            <a:avLst/>
          </a:prstGeom>
          <a:effectLst>
            <a:outerShdw blurRad="50800" dist="38100" dir="5400000" algn="t" rotWithShape="0">
              <a:prstClr val="black">
                <a:alpha val="40000"/>
              </a:prstClr>
            </a:outerShdw>
          </a:effectLst>
        </p:spPr>
      </p:pic>
      <p:grpSp>
        <p:nvGrpSpPr>
          <p:cNvPr id="37" name="Group 20">
            <a:extLst>
              <a:ext uri="{FF2B5EF4-FFF2-40B4-BE49-F238E27FC236}">
                <a16:creationId xmlns:a16="http://schemas.microsoft.com/office/drawing/2014/main" id="{077792B7-17A9-3667-DC79-97C7D1A1EBB3}"/>
              </a:ext>
            </a:extLst>
          </p:cNvPr>
          <p:cNvGrpSpPr/>
          <p:nvPr/>
        </p:nvGrpSpPr>
        <p:grpSpPr>
          <a:xfrm>
            <a:off x="4317206" y="1463780"/>
            <a:ext cx="2432945" cy="1673230"/>
            <a:chOff x="2094899" y="1081795"/>
            <a:chExt cx="4400683" cy="3501414"/>
          </a:xfrm>
          <a:effectLst/>
        </p:grpSpPr>
        <p:sp>
          <p:nvSpPr>
            <p:cNvPr id="38" name="Rectangle 37">
              <a:extLst>
                <a:ext uri="{FF2B5EF4-FFF2-40B4-BE49-F238E27FC236}">
                  <a16:creationId xmlns:a16="http://schemas.microsoft.com/office/drawing/2014/main" id="{68D3ADD9-F45A-2E7A-BACC-7C6B3729C52A}"/>
                </a:ext>
              </a:extLst>
            </p:cNvPr>
            <p:cNvSpPr/>
            <p:nvPr/>
          </p:nvSpPr>
          <p:spPr>
            <a:xfrm>
              <a:off x="2285399" y="1247618"/>
              <a:ext cx="4008120"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9" name="Freeform 5">
              <a:extLst>
                <a:ext uri="{FF2B5EF4-FFF2-40B4-BE49-F238E27FC236}">
                  <a16:creationId xmlns:a16="http://schemas.microsoft.com/office/drawing/2014/main" id="{D94DAE0F-8D0D-3B73-DC73-3AEA97A26566}"/>
                </a:ext>
              </a:extLst>
            </p:cNvPr>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75000"/>
                <a:lumOff val="2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0" name="Freeform 27">
              <a:extLst>
                <a:ext uri="{FF2B5EF4-FFF2-40B4-BE49-F238E27FC236}">
                  <a16:creationId xmlns:a16="http://schemas.microsoft.com/office/drawing/2014/main" id="{FF3D287F-5D50-4106-CFAE-4DF8113F4F93}"/>
                </a:ext>
              </a:extLst>
            </p:cNvPr>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121920" tIns="60960" rIns="121920" bIns="60960" numCol="1" anchor="t" anchorCtr="0" compatLnSpc="1">
              <a:prstTxWarp prst="textNoShape">
                <a:avLst/>
              </a:prstTxWarp>
            </a:bodyPr>
            <a:lstStyle/>
            <a:p>
              <a:r>
                <a:rPr lang="en-US" sz="2400"/>
                <a:t> </a:t>
              </a:r>
            </a:p>
          </p:txBody>
        </p:sp>
        <p:sp>
          <p:nvSpPr>
            <p:cNvPr id="41" name="Freeform 47">
              <a:extLst>
                <a:ext uri="{FF2B5EF4-FFF2-40B4-BE49-F238E27FC236}">
                  <a16:creationId xmlns:a16="http://schemas.microsoft.com/office/drawing/2014/main" id="{60E7BCC4-37B3-CF15-3BD0-876BCC4ED39E}"/>
                </a:ext>
              </a:extLst>
            </p:cNvPr>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pic>
        <p:nvPicPr>
          <p:cNvPr id="31" name="Picture 30">
            <a:extLst>
              <a:ext uri="{FF2B5EF4-FFF2-40B4-BE49-F238E27FC236}">
                <a16:creationId xmlns:a16="http://schemas.microsoft.com/office/drawing/2014/main" id="{FF7FABF7-3277-FB83-F480-210A57FD85DF}"/>
              </a:ext>
            </a:extLst>
          </p:cNvPr>
          <p:cNvPicPr>
            <a:picLocks noChangeAspect="1"/>
          </p:cNvPicPr>
          <p:nvPr/>
        </p:nvPicPr>
        <p:blipFill>
          <a:blip r:embed="rId4"/>
          <a:stretch>
            <a:fillRect/>
          </a:stretch>
        </p:blipFill>
        <p:spPr>
          <a:xfrm>
            <a:off x="4368207" y="1464065"/>
            <a:ext cx="2270232" cy="1384747"/>
          </a:xfrm>
          <a:prstGeom prst="rect">
            <a:avLst/>
          </a:prstGeom>
          <a:effectLst>
            <a:outerShdw blurRad="50800" dist="38100" dir="5400000" algn="t" rotWithShape="0">
              <a:prstClr val="black">
                <a:alpha val="40000"/>
              </a:prstClr>
            </a:outerShdw>
          </a:effectLst>
        </p:spPr>
      </p:pic>
      <p:grpSp>
        <p:nvGrpSpPr>
          <p:cNvPr id="42" name="Group 20">
            <a:extLst>
              <a:ext uri="{FF2B5EF4-FFF2-40B4-BE49-F238E27FC236}">
                <a16:creationId xmlns:a16="http://schemas.microsoft.com/office/drawing/2014/main" id="{2AF755AD-1222-6284-E286-9F242CA21D44}"/>
              </a:ext>
            </a:extLst>
          </p:cNvPr>
          <p:cNvGrpSpPr/>
          <p:nvPr/>
        </p:nvGrpSpPr>
        <p:grpSpPr>
          <a:xfrm>
            <a:off x="7873062" y="1437228"/>
            <a:ext cx="2432945" cy="1673230"/>
            <a:chOff x="2094899" y="1081795"/>
            <a:chExt cx="4400683" cy="3501414"/>
          </a:xfrm>
          <a:effectLst/>
        </p:grpSpPr>
        <p:sp>
          <p:nvSpPr>
            <p:cNvPr id="43" name="Rectangle 42">
              <a:extLst>
                <a:ext uri="{FF2B5EF4-FFF2-40B4-BE49-F238E27FC236}">
                  <a16:creationId xmlns:a16="http://schemas.microsoft.com/office/drawing/2014/main" id="{8BEF975B-6020-94CD-708C-A853F034AB88}"/>
                </a:ext>
              </a:extLst>
            </p:cNvPr>
            <p:cNvSpPr/>
            <p:nvPr/>
          </p:nvSpPr>
          <p:spPr>
            <a:xfrm>
              <a:off x="2285399" y="1247618"/>
              <a:ext cx="4008120"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Freeform 5">
              <a:extLst>
                <a:ext uri="{FF2B5EF4-FFF2-40B4-BE49-F238E27FC236}">
                  <a16:creationId xmlns:a16="http://schemas.microsoft.com/office/drawing/2014/main" id="{C4CF86B6-8645-78CD-2C8C-46A160C51B70}"/>
                </a:ext>
              </a:extLst>
            </p:cNvPr>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75000"/>
                <a:lumOff val="2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5" name="Freeform 27">
              <a:extLst>
                <a:ext uri="{FF2B5EF4-FFF2-40B4-BE49-F238E27FC236}">
                  <a16:creationId xmlns:a16="http://schemas.microsoft.com/office/drawing/2014/main" id="{4123072F-F26D-38EE-38C8-1600CD9D6406}"/>
                </a:ext>
              </a:extLst>
            </p:cNvPr>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121920" tIns="60960" rIns="121920" bIns="60960" numCol="1" anchor="t" anchorCtr="0" compatLnSpc="1">
              <a:prstTxWarp prst="textNoShape">
                <a:avLst/>
              </a:prstTxWarp>
            </a:bodyPr>
            <a:lstStyle/>
            <a:p>
              <a:r>
                <a:rPr lang="en-US" sz="2400"/>
                <a:t> </a:t>
              </a:r>
            </a:p>
          </p:txBody>
        </p:sp>
        <p:sp>
          <p:nvSpPr>
            <p:cNvPr id="46" name="Freeform 47">
              <a:extLst>
                <a:ext uri="{FF2B5EF4-FFF2-40B4-BE49-F238E27FC236}">
                  <a16:creationId xmlns:a16="http://schemas.microsoft.com/office/drawing/2014/main" id="{4C72458A-7CBD-D7CA-6D8C-1C179821F634}"/>
                </a:ext>
              </a:extLst>
            </p:cNvPr>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pic>
        <p:nvPicPr>
          <p:cNvPr id="30" name="Picture 29">
            <a:extLst>
              <a:ext uri="{FF2B5EF4-FFF2-40B4-BE49-F238E27FC236}">
                <a16:creationId xmlns:a16="http://schemas.microsoft.com/office/drawing/2014/main" id="{6B5CD515-708D-1F22-EC37-81B9A10067A1}"/>
              </a:ext>
            </a:extLst>
          </p:cNvPr>
          <p:cNvPicPr>
            <a:picLocks noChangeAspect="1"/>
          </p:cNvPicPr>
          <p:nvPr/>
        </p:nvPicPr>
        <p:blipFill>
          <a:blip r:embed="rId5"/>
          <a:stretch>
            <a:fillRect/>
          </a:stretch>
        </p:blipFill>
        <p:spPr>
          <a:xfrm>
            <a:off x="7978381" y="1501842"/>
            <a:ext cx="2215914" cy="1352630"/>
          </a:xfrm>
          <a:prstGeom prst="rect">
            <a:avLst/>
          </a:prstGeom>
          <a:effectLst>
            <a:outerShdw blurRad="50800" dist="38100" dir="5400000" algn="t" rotWithShape="0">
              <a:prstClr val="black">
                <a:alpha val="40000"/>
              </a:prstClr>
            </a:outerShdw>
          </a:effectLst>
        </p:spPr>
      </p:pic>
      <p:sp>
        <p:nvSpPr>
          <p:cNvPr id="47" name="Inhaltsplatzhalter 4">
            <a:extLst>
              <a:ext uri="{FF2B5EF4-FFF2-40B4-BE49-F238E27FC236}">
                <a16:creationId xmlns:a16="http://schemas.microsoft.com/office/drawing/2014/main" id="{A126843F-C40E-9FD4-39B9-25CA120E56F4}"/>
              </a:ext>
            </a:extLst>
          </p:cNvPr>
          <p:cNvSpPr txBox="1">
            <a:spLocks/>
          </p:cNvSpPr>
          <p:nvPr/>
        </p:nvSpPr>
        <p:spPr>
          <a:xfrm>
            <a:off x="4295488" y="4193739"/>
            <a:ext cx="2432945" cy="2439579"/>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914400">
              <a:lnSpc>
                <a:spcPct val="100000"/>
              </a:lnSpc>
              <a:spcAft>
                <a:spcPts val="600"/>
              </a:spcAft>
              <a:defRPr/>
            </a:pPr>
            <a:r>
              <a:rPr lang="en-GB" sz="1400">
                <a:solidFill>
                  <a:schemeClr val="tx1"/>
                </a:solidFill>
                <a:latin typeface="Arial"/>
              </a:rPr>
              <a:t>Org and Site </a:t>
            </a:r>
            <a:r>
              <a:rPr lang="en-GB" sz="1400" b="1">
                <a:solidFill>
                  <a:schemeClr val="tx1"/>
                </a:solidFill>
                <a:latin typeface="Arial"/>
              </a:rPr>
              <a:t>Onboarding via intuitive wizard</a:t>
            </a:r>
            <a:r>
              <a:rPr lang="en-GB" sz="1400">
                <a:solidFill>
                  <a:schemeClr val="tx1"/>
                </a:solidFill>
                <a:latin typeface="Arial"/>
              </a:rPr>
              <a:t>. No more Excel sheets!</a:t>
            </a:r>
          </a:p>
          <a:p>
            <a:pPr defTabSz="914400">
              <a:lnSpc>
                <a:spcPct val="100000"/>
              </a:lnSpc>
              <a:spcAft>
                <a:spcPts val="600"/>
              </a:spcAft>
              <a:defRPr/>
            </a:pPr>
            <a:r>
              <a:rPr lang="en-GB" sz="1400">
                <a:solidFill>
                  <a:schemeClr val="tx1"/>
                </a:solidFill>
                <a:latin typeface="Arial"/>
              </a:rPr>
              <a:t>Ability to </a:t>
            </a:r>
            <a:r>
              <a:rPr lang="en-GB" sz="1400" b="1">
                <a:solidFill>
                  <a:schemeClr val="tx1"/>
                </a:solidFill>
                <a:latin typeface="Arial"/>
              </a:rPr>
              <a:t>edit hierarchy</a:t>
            </a:r>
            <a:endParaRPr lang="en-GB" sz="1400">
              <a:solidFill>
                <a:schemeClr val="tx1"/>
              </a:solidFill>
              <a:latin typeface="Arial"/>
            </a:endParaRPr>
          </a:p>
          <a:p>
            <a:pPr defTabSz="914400">
              <a:lnSpc>
                <a:spcPct val="100000"/>
              </a:lnSpc>
              <a:spcAft>
                <a:spcPts val="600"/>
              </a:spcAft>
              <a:defRPr/>
            </a:pPr>
            <a:r>
              <a:rPr lang="en-GB" sz="1400">
                <a:solidFill>
                  <a:schemeClr val="tx1"/>
                </a:solidFill>
                <a:latin typeface="Arial"/>
              </a:rPr>
              <a:t>New </a:t>
            </a:r>
            <a:r>
              <a:rPr lang="en-GB" sz="1400" b="1">
                <a:solidFill>
                  <a:schemeClr val="tx1"/>
                </a:solidFill>
                <a:latin typeface="Arial"/>
              </a:rPr>
              <a:t>Gateway Management Page </a:t>
            </a:r>
            <a:r>
              <a:rPr lang="en-GB" sz="1400">
                <a:solidFill>
                  <a:schemeClr val="tx1"/>
                </a:solidFill>
                <a:latin typeface="Arial"/>
              </a:rPr>
              <a:t>with ability to view controller information including model and firmware versions</a:t>
            </a:r>
          </a:p>
          <a:p>
            <a:pPr marL="0" indent="0" algn="ctr">
              <a:lnSpc>
                <a:spcPct val="150000"/>
              </a:lnSpc>
              <a:buNone/>
            </a:pPr>
            <a:endParaRPr lang="en-US" sz="1333">
              <a:solidFill>
                <a:schemeClr val="tx1"/>
              </a:solidFill>
              <a:latin typeface="+mn-lt"/>
            </a:endParaRPr>
          </a:p>
        </p:txBody>
      </p:sp>
      <p:sp>
        <p:nvSpPr>
          <p:cNvPr id="48" name="Inhaltsplatzhalter 4">
            <a:extLst>
              <a:ext uri="{FF2B5EF4-FFF2-40B4-BE49-F238E27FC236}">
                <a16:creationId xmlns:a16="http://schemas.microsoft.com/office/drawing/2014/main" id="{D0B035FA-4CF5-6712-DFB1-75792654D260}"/>
              </a:ext>
            </a:extLst>
          </p:cNvPr>
          <p:cNvSpPr txBox="1">
            <a:spLocks/>
          </p:cNvSpPr>
          <p:nvPr/>
        </p:nvSpPr>
        <p:spPr>
          <a:xfrm>
            <a:off x="7949283" y="4193739"/>
            <a:ext cx="3126133" cy="2378023"/>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15570" lvl="0" indent="-115570" defTabSz="914400">
              <a:lnSpc>
                <a:spcPct val="100000"/>
              </a:lnSpc>
              <a:spcAft>
                <a:spcPts val="600"/>
              </a:spcAft>
              <a:buFont typeface="Arial" panose="020B0604020202020204" pitchFamily="34" charset="0"/>
              <a:buChar char="•"/>
              <a:defRPr/>
            </a:pPr>
            <a:r>
              <a:rPr lang="en-GB" sz="1400">
                <a:solidFill>
                  <a:schemeClr val="tx1"/>
                </a:solidFill>
                <a:latin typeface="Arial"/>
              </a:rPr>
              <a:t>AI based </a:t>
            </a:r>
            <a:r>
              <a:rPr lang="en-GB" sz="1400" b="1">
                <a:solidFill>
                  <a:schemeClr val="tx1"/>
                </a:solidFill>
                <a:latin typeface="Arial"/>
              </a:rPr>
              <a:t>automatic asset modelling </a:t>
            </a:r>
            <a:br>
              <a:rPr lang="en-GB" sz="1400" b="1">
                <a:solidFill>
                  <a:schemeClr val="tx1"/>
                </a:solidFill>
                <a:latin typeface="Arial"/>
              </a:rPr>
            </a:br>
            <a:r>
              <a:rPr lang="en-GB" sz="1400">
                <a:solidFill>
                  <a:schemeClr val="tx1"/>
                </a:solidFill>
                <a:latin typeface="Arial"/>
              </a:rPr>
              <a:t>on cloud. </a:t>
            </a:r>
            <a:endParaRPr lang="en-US">
              <a:solidFill>
                <a:schemeClr val="tx1"/>
              </a:solidFill>
            </a:endParaRPr>
          </a:p>
          <a:p>
            <a:pPr marL="115570" lvl="0" indent="-115570" defTabSz="914400">
              <a:lnSpc>
                <a:spcPct val="100000"/>
              </a:lnSpc>
              <a:spcAft>
                <a:spcPts val="600"/>
              </a:spcAft>
              <a:buFont typeface="Arial" panose="020B0604020202020204" pitchFamily="34" charset="0"/>
              <a:buChar char="•"/>
              <a:defRPr/>
            </a:pPr>
            <a:r>
              <a:rPr lang="en-GB" sz="1400">
                <a:solidFill>
                  <a:schemeClr val="tx1"/>
                </a:solidFill>
                <a:latin typeface="Arial"/>
              </a:rPr>
              <a:t>Allows for faster accurate results. </a:t>
            </a:r>
            <a:br>
              <a:rPr lang="en-GB" sz="1400">
                <a:solidFill>
                  <a:schemeClr val="tx1"/>
                </a:solidFill>
                <a:latin typeface="Arial"/>
              </a:rPr>
            </a:br>
            <a:r>
              <a:rPr lang="en-GB" sz="1400" b="1">
                <a:solidFill>
                  <a:schemeClr val="tx1"/>
                </a:solidFill>
                <a:latin typeface="Arial"/>
              </a:rPr>
              <a:t>No more modelling on site!</a:t>
            </a:r>
            <a:endParaRPr lang="en-GB" sz="1400">
              <a:solidFill>
                <a:schemeClr val="tx1"/>
              </a:solidFill>
              <a:latin typeface="Arial"/>
              <a:cs typeface="Arial"/>
            </a:endParaRPr>
          </a:p>
          <a:p>
            <a:pPr marL="115570" lvl="0" indent="-115570" defTabSz="914400">
              <a:lnSpc>
                <a:spcPct val="100000"/>
              </a:lnSpc>
              <a:spcAft>
                <a:spcPts val="600"/>
              </a:spcAft>
              <a:buFont typeface="Arial" panose="020B0604020202020204" pitchFamily="34" charset="0"/>
              <a:buChar char="•"/>
              <a:defRPr/>
            </a:pPr>
            <a:r>
              <a:rPr lang="en-GB" sz="1400">
                <a:solidFill>
                  <a:schemeClr val="tx1"/>
                </a:solidFill>
                <a:latin typeface="Arial"/>
              </a:rPr>
              <a:t>Tool allows :</a:t>
            </a:r>
            <a:endParaRPr lang="en-GB" sz="1400">
              <a:solidFill>
                <a:schemeClr val="tx1"/>
              </a:solidFill>
              <a:latin typeface="Arial"/>
              <a:cs typeface="Arial"/>
            </a:endParaRPr>
          </a:p>
          <a:p>
            <a:pPr marL="575945" lvl="1" indent="-118745" defTabSz="914400">
              <a:lnSpc>
                <a:spcPct val="100000"/>
              </a:lnSpc>
              <a:spcAft>
                <a:spcPts val="600"/>
              </a:spcAft>
              <a:buFont typeface="Arial" panose="020B0604020202020204" pitchFamily="34" charset="0"/>
              <a:buChar char="•"/>
              <a:defRPr/>
            </a:pPr>
            <a:r>
              <a:rPr lang="en-GB" sz="1400" b="1">
                <a:solidFill>
                  <a:schemeClr val="tx1"/>
                </a:solidFill>
                <a:latin typeface="Arial"/>
              </a:rPr>
              <a:t>Track status of automatic contextualisation </a:t>
            </a:r>
            <a:endParaRPr lang="en-GB" sz="1400" b="1">
              <a:solidFill>
                <a:schemeClr val="tx1"/>
              </a:solidFill>
              <a:latin typeface="Arial"/>
              <a:cs typeface="Arial"/>
            </a:endParaRPr>
          </a:p>
          <a:p>
            <a:pPr marL="575945" lvl="1" indent="-118745" defTabSz="914400">
              <a:lnSpc>
                <a:spcPct val="100000"/>
              </a:lnSpc>
              <a:spcAft>
                <a:spcPts val="600"/>
              </a:spcAft>
              <a:buFont typeface="Arial" panose="020B0604020202020204" pitchFamily="34" charset="0"/>
              <a:buChar char="•"/>
              <a:defRPr/>
            </a:pPr>
            <a:r>
              <a:rPr lang="en-GB" sz="1400">
                <a:solidFill>
                  <a:schemeClr val="tx1"/>
                </a:solidFill>
                <a:latin typeface="Arial"/>
              </a:rPr>
              <a:t>Manually edit &amp; fine tune model</a:t>
            </a:r>
            <a:endParaRPr lang="en-GB" sz="1400">
              <a:solidFill>
                <a:schemeClr val="tx1"/>
              </a:solidFill>
              <a:latin typeface="Arial"/>
              <a:cs typeface="Arial"/>
            </a:endParaRPr>
          </a:p>
          <a:p>
            <a:pPr marL="0" indent="0" algn="ctr">
              <a:lnSpc>
                <a:spcPct val="150000"/>
              </a:lnSpc>
              <a:buNone/>
            </a:pPr>
            <a:endParaRPr lang="en-US" sz="1333">
              <a:solidFill>
                <a:schemeClr val="tx1"/>
              </a:solidFill>
              <a:latin typeface="+mn-lt"/>
            </a:endParaRPr>
          </a:p>
        </p:txBody>
      </p:sp>
    </p:spTree>
    <p:extLst>
      <p:ext uri="{BB962C8B-B14F-4D97-AF65-F5344CB8AC3E}">
        <p14:creationId xmlns:p14="http://schemas.microsoft.com/office/powerpoint/2010/main" val="21118146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7B953D-0A67-A1BB-EA6B-E6B0E275281D}"/>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5C6CBAF0-270C-42D4-81E7-F3B815AFD1F5}"/>
              </a:ext>
            </a:extLst>
          </p:cNvPr>
          <p:cNvSpPr/>
          <p:nvPr/>
        </p:nvSpPr>
        <p:spPr bwMode="auto">
          <a:xfrm>
            <a:off x="8636000" y="0"/>
            <a:ext cx="3556000" cy="6858000"/>
          </a:xfrm>
          <a:prstGeom prst="rect">
            <a:avLst/>
          </a:prstGeom>
          <a:blipFill>
            <a:blip r:embed="rId3"/>
            <a:stretch>
              <a:fillRect/>
            </a:stretch>
          </a:blipFill>
          <a:ln w="9525">
            <a:noFill/>
            <a:round/>
            <a:headEnd/>
            <a:tailEnd/>
          </a:ln>
        </p:spPr>
        <p:txBody>
          <a:bodyPr vert="horz" wrap="square" lIns="121920" tIns="60960" rIns="121920" bIns="60960" numCol="1" rtlCol="0" anchor="t" anchorCtr="0" compatLnSpc="1">
            <a:prstTxWarp prst="textNoShape">
              <a:avLst/>
            </a:prstTxWarp>
            <a:noAutofit/>
          </a:bodyPr>
          <a:lstStyle/>
          <a:p>
            <a:pPr algn="ctr"/>
            <a:endParaRPr lang="en-US" sz="2400"/>
          </a:p>
        </p:txBody>
      </p:sp>
      <p:grpSp>
        <p:nvGrpSpPr>
          <p:cNvPr id="25" name="Group 20">
            <a:extLst>
              <a:ext uri="{FF2B5EF4-FFF2-40B4-BE49-F238E27FC236}">
                <a16:creationId xmlns:a16="http://schemas.microsoft.com/office/drawing/2014/main" id="{B41C6BEE-4589-9573-F1C5-893FFE46486B}"/>
              </a:ext>
            </a:extLst>
          </p:cNvPr>
          <p:cNvGrpSpPr/>
          <p:nvPr/>
        </p:nvGrpSpPr>
        <p:grpSpPr>
          <a:xfrm>
            <a:off x="6440300" y="1403626"/>
            <a:ext cx="5082180" cy="4043649"/>
            <a:chOff x="2094899" y="1081795"/>
            <a:chExt cx="4400683" cy="3501414"/>
          </a:xfrm>
          <a:effectLst/>
        </p:grpSpPr>
        <p:sp>
          <p:nvSpPr>
            <p:cNvPr id="45" name="Rectangle 44">
              <a:extLst>
                <a:ext uri="{FF2B5EF4-FFF2-40B4-BE49-F238E27FC236}">
                  <a16:creationId xmlns:a16="http://schemas.microsoft.com/office/drawing/2014/main" id="{D5ACF8B8-8C32-1BEA-01E8-35242040182A}"/>
                </a:ext>
              </a:extLst>
            </p:cNvPr>
            <p:cNvSpPr/>
            <p:nvPr/>
          </p:nvSpPr>
          <p:spPr>
            <a:xfrm>
              <a:off x="2285399" y="1247618"/>
              <a:ext cx="4008120"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 name="Freeform 5">
              <a:extLst>
                <a:ext uri="{FF2B5EF4-FFF2-40B4-BE49-F238E27FC236}">
                  <a16:creationId xmlns:a16="http://schemas.microsoft.com/office/drawing/2014/main" id="{AB2A5D50-E2D0-3F23-25EB-A8F8B88E1747}"/>
                </a:ext>
              </a:extLst>
            </p:cNvPr>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75000"/>
                <a:lumOff val="2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7" name="Freeform 27">
              <a:extLst>
                <a:ext uri="{FF2B5EF4-FFF2-40B4-BE49-F238E27FC236}">
                  <a16:creationId xmlns:a16="http://schemas.microsoft.com/office/drawing/2014/main" id="{B47144CC-0A5E-1E59-D65E-4E986F044ADD}"/>
                </a:ext>
              </a:extLst>
            </p:cNvPr>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121920" tIns="60960" rIns="121920" bIns="60960" numCol="1" anchor="t" anchorCtr="0" compatLnSpc="1">
              <a:prstTxWarp prst="textNoShape">
                <a:avLst/>
              </a:prstTxWarp>
            </a:bodyPr>
            <a:lstStyle/>
            <a:p>
              <a:r>
                <a:rPr lang="en-US" sz="2400"/>
                <a:t> </a:t>
              </a:r>
            </a:p>
          </p:txBody>
        </p:sp>
        <p:sp>
          <p:nvSpPr>
            <p:cNvPr id="48" name="Freeform 47">
              <a:extLst>
                <a:ext uri="{FF2B5EF4-FFF2-40B4-BE49-F238E27FC236}">
                  <a16:creationId xmlns:a16="http://schemas.microsoft.com/office/drawing/2014/main" id="{D36253CA-2110-585A-865D-B67B28C58D03}"/>
                </a:ext>
              </a:extLst>
            </p:cNvPr>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2" name="Title 1">
            <a:extLst>
              <a:ext uri="{FF2B5EF4-FFF2-40B4-BE49-F238E27FC236}">
                <a16:creationId xmlns:a16="http://schemas.microsoft.com/office/drawing/2014/main" id="{BCAEEF8A-CC91-811C-E131-AE9142F67930}"/>
              </a:ext>
            </a:extLst>
          </p:cNvPr>
          <p:cNvSpPr>
            <a:spLocks noGrp="1"/>
          </p:cNvSpPr>
          <p:nvPr>
            <p:ph type="title"/>
          </p:nvPr>
        </p:nvSpPr>
        <p:spPr>
          <a:xfrm>
            <a:off x="358819" y="427059"/>
            <a:ext cx="7413581" cy="697883"/>
          </a:xfrm>
        </p:spPr>
        <p:txBody>
          <a:bodyPr/>
          <a:lstStyle/>
          <a:p>
            <a:r>
              <a:rPr lang="en-US" sz="2800"/>
              <a:t>Connect package </a:t>
            </a:r>
            <a:br>
              <a:rPr lang="en-US" sz="2800"/>
            </a:br>
            <a:endParaRPr lang="en-US" sz="2800"/>
          </a:p>
        </p:txBody>
      </p:sp>
      <p:pic>
        <p:nvPicPr>
          <p:cNvPr id="5" name="Picture 4">
            <a:extLst>
              <a:ext uri="{FF2B5EF4-FFF2-40B4-BE49-F238E27FC236}">
                <a16:creationId xmlns:a16="http://schemas.microsoft.com/office/drawing/2014/main" id="{45E0C276-BF11-0F0C-07EC-DAA91FE9F41F}"/>
              </a:ext>
            </a:extLst>
          </p:cNvPr>
          <p:cNvPicPr>
            <a:picLocks noChangeAspect="1"/>
          </p:cNvPicPr>
          <p:nvPr/>
        </p:nvPicPr>
        <p:blipFill>
          <a:blip r:embed="rId4"/>
          <a:stretch>
            <a:fillRect/>
          </a:stretch>
        </p:blipFill>
        <p:spPr>
          <a:xfrm>
            <a:off x="6542021" y="1470582"/>
            <a:ext cx="4837179" cy="2956053"/>
          </a:xfrm>
          <a:prstGeom prst="rect">
            <a:avLst/>
          </a:prstGeom>
          <a:effectLst>
            <a:outerShdw blurRad="63500" sx="102000" sy="102000" algn="ctr" rotWithShape="0">
              <a:prstClr val="black">
                <a:alpha val="40000"/>
              </a:prstClr>
            </a:outerShdw>
          </a:effectLst>
        </p:spPr>
      </p:pic>
      <p:pic>
        <p:nvPicPr>
          <p:cNvPr id="20" name="Graphic 19" descr="Checkmark with solid fill">
            <a:extLst>
              <a:ext uri="{FF2B5EF4-FFF2-40B4-BE49-F238E27FC236}">
                <a16:creationId xmlns:a16="http://schemas.microsoft.com/office/drawing/2014/main" id="{26B7353F-F9CC-89F8-8C49-6E54A4F347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22243" y="1109534"/>
            <a:ext cx="520846" cy="520846"/>
          </a:xfrm>
          <a:prstGeom prst="rect">
            <a:avLst/>
          </a:prstGeom>
        </p:spPr>
      </p:pic>
      <p:pic>
        <p:nvPicPr>
          <p:cNvPr id="21" name="Graphic 20" descr="Checkmark with solid fill">
            <a:extLst>
              <a:ext uri="{FF2B5EF4-FFF2-40B4-BE49-F238E27FC236}">
                <a16:creationId xmlns:a16="http://schemas.microsoft.com/office/drawing/2014/main" id="{460E89C9-CFDE-C748-C186-9CD58B16080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14368" y="2376773"/>
            <a:ext cx="520846" cy="520846"/>
          </a:xfrm>
          <a:prstGeom prst="rect">
            <a:avLst/>
          </a:prstGeom>
        </p:spPr>
      </p:pic>
      <p:pic>
        <p:nvPicPr>
          <p:cNvPr id="23" name="Graphic 22" descr="Checkmark with solid fill">
            <a:extLst>
              <a:ext uri="{FF2B5EF4-FFF2-40B4-BE49-F238E27FC236}">
                <a16:creationId xmlns:a16="http://schemas.microsoft.com/office/drawing/2014/main" id="{211A380E-2C7A-985A-1A89-74C55D3150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22243" y="4066039"/>
            <a:ext cx="520846" cy="520846"/>
          </a:xfrm>
          <a:prstGeom prst="rect">
            <a:avLst/>
          </a:prstGeom>
        </p:spPr>
      </p:pic>
      <p:sp>
        <p:nvSpPr>
          <p:cNvPr id="24" name="Oval 23">
            <a:extLst>
              <a:ext uri="{FF2B5EF4-FFF2-40B4-BE49-F238E27FC236}">
                <a16:creationId xmlns:a16="http://schemas.microsoft.com/office/drawing/2014/main" id="{AE64BFFF-CD64-B33C-FD91-84E66B751A34}"/>
              </a:ext>
            </a:extLst>
          </p:cNvPr>
          <p:cNvSpPr/>
          <p:nvPr/>
        </p:nvSpPr>
        <p:spPr>
          <a:xfrm rot="5400000">
            <a:off x="4870626" y="1442474"/>
            <a:ext cx="722195" cy="7222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26" name="Oval 25">
            <a:extLst>
              <a:ext uri="{FF2B5EF4-FFF2-40B4-BE49-F238E27FC236}">
                <a16:creationId xmlns:a16="http://schemas.microsoft.com/office/drawing/2014/main" id="{22E28025-A672-09CE-5D67-026183891CCE}"/>
              </a:ext>
            </a:extLst>
          </p:cNvPr>
          <p:cNvSpPr/>
          <p:nvPr/>
        </p:nvSpPr>
        <p:spPr>
          <a:xfrm rot="5400000">
            <a:off x="4870626" y="2776941"/>
            <a:ext cx="722195" cy="7222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27" name="Oval 26">
            <a:extLst>
              <a:ext uri="{FF2B5EF4-FFF2-40B4-BE49-F238E27FC236}">
                <a16:creationId xmlns:a16="http://schemas.microsoft.com/office/drawing/2014/main" id="{8111E1EF-FD9D-2125-CDBC-A47099BC77CC}"/>
              </a:ext>
            </a:extLst>
          </p:cNvPr>
          <p:cNvSpPr/>
          <p:nvPr/>
        </p:nvSpPr>
        <p:spPr>
          <a:xfrm rot="5400000">
            <a:off x="4870626" y="4111408"/>
            <a:ext cx="722195" cy="7222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65412738-42D2-9D2E-E930-B9CEB9A9370C}"/>
              </a:ext>
            </a:extLst>
          </p:cNvPr>
          <p:cNvSpPr/>
          <p:nvPr/>
        </p:nvSpPr>
        <p:spPr>
          <a:xfrm>
            <a:off x="572654" y="1377208"/>
            <a:ext cx="4032000" cy="779509"/>
          </a:xfrm>
          <a:prstGeom prst="rect">
            <a:avLst/>
          </a:prstGeom>
        </p:spPr>
        <p:txBody>
          <a:bodyPr wrap="square" lIns="0" tIns="0" rIns="0" bIns="0" anchor="ctr">
            <a:spAutoFit/>
          </a:bodyPr>
          <a:lstStyle/>
          <a:p>
            <a:pPr algn="r">
              <a:lnSpc>
                <a:spcPts val="2133"/>
              </a:lnSpc>
            </a:pPr>
            <a:r>
              <a:rPr lang="en-US" sz="1867" b="1">
                <a:latin typeface="+mj-lt"/>
              </a:rPr>
              <a:t>REMOTE BUILDING MANAGER</a:t>
            </a:r>
          </a:p>
          <a:p>
            <a:pPr algn="r">
              <a:lnSpc>
                <a:spcPts val="2133"/>
              </a:lnSpc>
            </a:pPr>
            <a:r>
              <a:rPr lang="en-US" sz="1333"/>
              <a:t>Cloud supervisor for remote monitoring &amp; control</a:t>
            </a:r>
            <a:br>
              <a:rPr lang="en-US" sz="1333"/>
            </a:br>
            <a:r>
              <a:rPr lang="en-US" sz="1333"/>
              <a:t>Set point changes, alarms, schedules &amp; trends</a:t>
            </a:r>
          </a:p>
        </p:txBody>
      </p:sp>
      <p:sp>
        <p:nvSpPr>
          <p:cNvPr id="29" name="Rectangle 28">
            <a:extLst>
              <a:ext uri="{FF2B5EF4-FFF2-40B4-BE49-F238E27FC236}">
                <a16:creationId xmlns:a16="http://schemas.microsoft.com/office/drawing/2014/main" id="{22A825A0-E14D-F812-67D6-85480D5943D3}"/>
              </a:ext>
            </a:extLst>
          </p:cNvPr>
          <p:cNvSpPr/>
          <p:nvPr/>
        </p:nvSpPr>
        <p:spPr>
          <a:xfrm>
            <a:off x="572654" y="2442207"/>
            <a:ext cx="4032000" cy="1318118"/>
          </a:xfrm>
          <a:prstGeom prst="rect">
            <a:avLst/>
          </a:prstGeom>
        </p:spPr>
        <p:txBody>
          <a:bodyPr wrap="square" lIns="0" tIns="0" rIns="0" bIns="0" anchor="ctr">
            <a:spAutoFit/>
          </a:bodyPr>
          <a:lstStyle/>
          <a:p>
            <a:pPr algn="r">
              <a:lnSpc>
                <a:spcPts val="2133"/>
              </a:lnSpc>
            </a:pPr>
            <a:r>
              <a:rPr lang="en-US" sz="1867" b="1">
                <a:latin typeface="+mj-lt"/>
              </a:rPr>
              <a:t>ASSET LIFECYCLE ASSESSMENT</a:t>
            </a:r>
          </a:p>
          <a:p>
            <a:pPr algn="r">
              <a:lnSpc>
                <a:spcPts val="2133"/>
              </a:lnSpc>
            </a:pPr>
            <a:r>
              <a:rPr lang="en-US" sz="1333"/>
              <a:t>Dashboard to highlight connected device list and highlight obsolescence. Streamlines the lifecycle management process. </a:t>
            </a:r>
          </a:p>
        </p:txBody>
      </p:sp>
      <p:sp>
        <p:nvSpPr>
          <p:cNvPr id="30" name="Rectangle 29">
            <a:extLst>
              <a:ext uri="{FF2B5EF4-FFF2-40B4-BE49-F238E27FC236}">
                <a16:creationId xmlns:a16="http://schemas.microsoft.com/office/drawing/2014/main" id="{7D47E999-6BAA-4E3B-6067-DAE9E2FD6499}"/>
              </a:ext>
            </a:extLst>
          </p:cNvPr>
          <p:cNvSpPr/>
          <p:nvPr/>
        </p:nvSpPr>
        <p:spPr>
          <a:xfrm>
            <a:off x="572654" y="4097912"/>
            <a:ext cx="4032000" cy="1048813"/>
          </a:xfrm>
          <a:prstGeom prst="rect">
            <a:avLst/>
          </a:prstGeom>
        </p:spPr>
        <p:txBody>
          <a:bodyPr wrap="square" lIns="0" tIns="0" rIns="0" bIns="0" anchor="ctr">
            <a:spAutoFit/>
          </a:bodyPr>
          <a:lstStyle/>
          <a:p>
            <a:pPr algn="r">
              <a:lnSpc>
                <a:spcPts val="2133"/>
              </a:lnSpc>
            </a:pPr>
            <a:r>
              <a:rPr lang="en-US" sz="1867" b="1" noProof="0">
                <a:latin typeface="+mj-lt"/>
              </a:rPr>
              <a:t>OPPORTUNITY ASSESSMENT</a:t>
            </a:r>
            <a:endParaRPr lang="en-US" sz="1867" b="1">
              <a:latin typeface="+mj-lt"/>
            </a:endParaRPr>
          </a:p>
          <a:p>
            <a:pPr algn="r">
              <a:lnSpc>
                <a:spcPts val="2133"/>
              </a:lnSpc>
            </a:pPr>
            <a:r>
              <a:rPr lang="en-US" sz="1333"/>
              <a:t>Identifies maintenance savings opportunities and finds energy savings potential through operational improvements</a:t>
            </a:r>
          </a:p>
        </p:txBody>
      </p:sp>
      <p:pic>
        <p:nvPicPr>
          <p:cNvPr id="31" name="Graphic 30" descr="Checkmark with solid fill">
            <a:extLst>
              <a:ext uri="{FF2B5EF4-FFF2-40B4-BE49-F238E27FC236}">
                <a16:creationId xmlns:a16="http://schemas.microsoft.com/office/drawing/2014/main" id="{D3DD5D78-00AB-AC38-E308-A7C3392EA5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754" y="1573467"/>
            <a:ext cx="520846" cy="520846"/>
          </a:xfrm>
          <a:prstGeom prst="rect">
            <a:avLst/>
          </a:prstGeom>
        </p:spPr>
      </p:pic>
      <p:pic>
        <p:nvPicPr>
          <p:cNvPr id="32" name="Graphic 31" descr="Checkmark with solid fill">
            <a:extLst>
              <a:ext uri="{FF2B5EF4-FFF2-40B4-BE49-F238E27FC236}">
                <a16:creationId xmlns:a16="http://schemas.microsoft.com/office/drawing/2014/main" id="{B264EF59-853E-6545-6FD6-AAE2F2EACC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68034" y="2877151"/>
            <a:ext cx="520846" cy="520846"/>
          </a:xfrm>
          <a:prstGeom prst="rect">
            <a:avLst/>
          </a:prstGeom>
        </p:spPr>
      </p:pic>
      <p:pic>
        <p:nvPicPr>
          <p:cNvPr id="33" name="Graphic 32" descr="Checkmark with solid fill">
            <a:extLst>
              <a:ext uri="{FF2B5EF4-FFF2-40B4-BE49-F238E27FC236}">
                <a16:creationId xmlns:a16="http://schemas.microsoft.com/office/drawing/2014/main" id="{C9F20BF7-3DC2-547F-E318-EB5B7551DF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68034" y="4231299"/>
            <a:ext cx="520846" cy="520846"/>
          </a:xfrm>
          <a:prstGeom prst="rect">
            <a:avLst/>
          </a:prstGeom>
        </p:spPr>
      </p:pic>
      <p:pic>
        <p:nvPicPr>
          <p:cNvPr id="3" name="Graphic 2" descr="Checkmark with solid fill">
            <a:extLst>
              <a:ext uri="{FF2B5EF4-FFF2-40B4-BE49-F238E27FC236}">
                <a16:creationId xmlns:a16="http://schemas.microsoft.com/office/drawing/2014/main" id="{10A17932-D472-7ECE-2C73-8651194080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26053" y="5338579"/>
            <a:ext cx="520846" cy="520846"/>
          </a:xfrm>
          <a:prstGeom prst="rect">
            <a:avLst/>
          </a:prstGeom>
        </p:spPr>
      </p:pic>
      <p:sp>
        <p:nvSpPr>
          <p:cNvPr id="4" name="Oval 3">
            <a:extLst>
              <a:ext uri="{FF2B5EF4-FFF2-40B4-BE49-F238E27FC236}">
                <a16:creationId xmlns:a16="http://schemas.microsoft.com/office/drawing/2014/main" id="{FF0B8BEB-F37F-570B-0267-797574AB9D4D}"/>
              </a:ext>
            </a:extLst>
          </p:cNvPr>
          <p:cNvSpPr/>
          <p:nvPr/>
        </p:nvSpPr>
        <p:spPr>
          <a:xfrm rot="5400000">
            <a:off x="4874436" y="5383948"/>
            <a:ext cx="722195" cy="722229"/>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33BC73CB-59A2-9F31-0780-DBAF3EF0B982}"/>
              </a:ext>
            </a:extLst>
          </p:cNvPr>
          <p:cNvSpPr/>
          <p:nvPr/>
        </p:nvSpPr>
        <p:spPr>
          <a:xfrm>
            <a:off x="572654" y="5505104"/>
            <a:ext cx="4032000" cy="779509"/>
          </a:xfrm>
          <a:prstGeom prst="rect">
            <a:avLst/>
          </a:prstGeom>
        </p:spPr>
        <p:txBody>
          <a:bodyPr wrap="square" lIns="0" tIns="0" rIns="0" bIns="0" anchor="ctr">
            <a:spAutoFit/>
          </a:bodyPr>
          <a:lstStyle/>
          <a:p>
            <a:pPr algn="r">
              <a:lnSpc>
                <a:spcPts val="2133"/>
              </a:lnSpc>
            </a:pPr>
            <a:r>
              <a:rPr lang="en-US" sz="1867" b="1" noProof="0">
                <a:latin typeface="+mj-lt"/>
              </a:rPr>
              <a:t>KPI DASHBOARD</a:t>
            </a:r>
            <a:endParaRPr lang="en-US" sz="1867" b="1">
              <a:latin typeface="+mj-lt"/>
            </a:endParaRPr>
          </a:p>
          <a:p>
            <a:pPr algn="r">
              <a:lnSpc>
                <a:spcPts val="2133"/>
              </a:lnSpc>
            </a:pPr>
            <a:r>
              <a:rPr lang="en-US" sz="1333"/>
              <a:t>Dashboard that gives a building performance summary view </a:t>
            </a:r>
          </a:p>
        </p:txBody>
      </p:sp>
      <p:pic>
        <p:nvPicPr>
          <p:cNvPr id="7" name="Graphic 6" descr="Checkmark with solid fill">
            <a:extLst>
              <a:ext uri="{FF2B5EF4-FFF2-40B4-BE49-F238E27FC236}">
                <a16:creationId xmlns:a16="http://schemas.microsoft.com/office/drawing/2014/main" id="{DB5A75B0-A665-3457-CF1A-AEC17FF80B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1844" y="5503839"/>
            <a:ext cx="520846" cy="520846"/>
          </a:xfrm>
          <a:prstGeom prst="rect">
            <a:avLst/>
          </a:prstGeom>
        </p:spPr>
      </p:pic>
      <p:pic>
        <p:nvPicPr>
          <p:cNvPr id="8" name="Picture 7" descr="A black background with white text&#10;&#10;AI-generated content may be incorrect.">
            <a:extLst>
              <a:ext uri="{FF2B5EF4-FFF2-40B4-BE49-F238E27FC236}">
                <a16:creationId xmlns:a16="http://schemas.microsoft.com/office/drawing/2014/main" id="{836D99A0-0AC4-67EA-6A59-95341E0CDA11}"/>
              </a:ext>
            </a:extLst>
          </p:cNvPr>
          <p:cNvPicPr>
            <a:picLocks noChangeAspect="1"/>
          </p:cNvPicPr>
          <p:nvPr/>
        </p:nvPicPr>
        <p:blipFill>
          <a:blip r:embed="rId7"/>
          <a:stretch>
            <a:fillRect/>
          </a:stretch>
        </p:blipFill>
        <p:spPr>
          <a:xfrm>
            <a:off x="10243709" y="5566988"/>
            <a:ext cx="1533525" cy="895350"/>
          </a:xfrm>
          <a:prstGeom prst="rect">
            <a:avLst/>
          </a:prstGeom>
        </p:spPr>
      </p:pic>
    </p:spTree>
    <p:extLst>
      <p:ext uri="{BB962C8B-B14F-4D97-AF65-F5344CB8AC3E}">
        <p14:creationId xmlns:p14="http://schemas.microsoft.com/office/powerpoint/2010/main" val="3004411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750"/>
                                        <p:tgtEl>
                                          <p:spTgt spid="24"/>
                                        </p:tgtEl>
                                      </p:cBhvr>
                                    </p:animEffect>
                                    <p:anim calcmode="lin" valueType="num">
                                      <p:cBhvr>
                                        <p:cTn id="8" dur="750" fill="hold"/>
                                        <p:tgtEl>
                                          <p:spTgt spid="24"/>
                                        </p:tgtEl>
                                        <p:attrNameLst>
                                          <p:attrName>ppt_w</p:attrName>
                                        </p:attrNameLst>
                                      </p:cBhvr>
                                      <p:tavLst>
                                        <p:tav tm="0" fmla="#ppt_w*sin(2.5*pi*$)">
                                          <p:val>
                                            <p:fltVal val="0"/>
                                          </p:val>
                                        </p:tav>
                                        <p:tav tm="100000">
                                          <p:val>
                                            <p:fltVal val="1"/>
                                          </p:val>
                                        </p:tav>
                                      </p:tavLst>
                                    </p:anim>
                                    <p:anim calcmode="lin" valueType="num">
                                      <p:cBhvr>
                                        <p:cTn id="9" dur="750" fill="hold"/>
                                        <p:tgtEl>
                                          <p:spTgt spid="24"/>
                                        </p:tgtEl>
                                        <p:attrNameLst>
                                          <p:attrName>ppt_h</p:attrName>
                                        </p:attrNameLst>
                                      </p:cBhvr>
                                      <p:tavLst>
                                        <p:tav tm="0">
                                          <p:val>
                                            <p:strVal val="#ppt_h"/>
                                          </p:val>
                                        </p:tav>
                                        <p:tav tm="100000">
                                          <p:val>
                                            <p:strVal val="#ppt_h"/>
                                          </p:val>
                                        </p:tav>
                                      </p:tavLst>
                                    </p:anim>
                                  </p:childTnLst>
                                </p:cTn>
                              </p:par>
                            </p:childTnLst>
                          </p:cTn>
                        </p:par>
                        <p:par>
                          <p:cTn id="10" fill="hold">
                            <p:stCondLst>
                              <p:cond delay="750"/>
                            </p:stCondLst>
                            <p:childTnLst>
                              <p:par>
                                <p:cTn id="11" presetID="45"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750"/>
                                        <p:tgtEl>
                                          <p:spTgt spid="26"/>
                                        </p:tgtEl>
                                      </p:cBhvr>
                                    </p:animEffect>
                                    <p:anim calcmode="lin" valueType="num">
                                      <p:cBhvr>
                                        <p:cTn id="14" dur="750" fill="hold"/>
                                        <p:tgtEl>
                                          <p:spTgt spid="26"/>
                                        </p:tgtEl>
                                        <p:attrNameLst>
                                          <p:attrName>ppt_w</p:attrName>
                                        </p:attrNameLst>
                                      </p:cBhvr>
                                      <p:tavLst>
                                        <p:tav tm="0" fmla="#ppt_w*sin(2.5*pi*$)">
                                          <p:val>
                                            <p:fltVal val="0"/>
                                          </p:val>
                                        </p:tav>
                                        <p:tav tm="100000">
                                          <p:val>
                                            <p:fltVal val="1"/>
                                          </p:val>
                                        </p:tav>
                                      </p:tavLst>
                                    </p:anim>
                                    <p:anim calcmode="lin" valueType="num">
                                      <p:cBhvr>
                                        <p:cTn id="15" dur="750" fill="hold"/>
                                        <p:tgtEl>
                                          <p:spTgt spid="26"/>
                                        </p:tgtEl>
                                        <p:attrNameLst>
                                          <p:attrName>ppt_h</p:attrName>
                                        </p:attrNameLst>
                                      </p:cBhvr>
                                      <p:tavLst>
                                        <p:tav tm="0">
                                          <p:val>
                                            <p:strVal val="#ppt_h"/>
                                          </p:val>
                                        </p:tav>
                                        <p:tav tm="100000">
                                          <p:val>
                                            <p:strVal val="#ppt_h"/>
                                          </p:val>
                                        </p:tav>
                                      </p:tavLst>
                                    </p:anim>
                                  </p:childTnLst>
                                </p:cTn>
                              </p:par>
                            </p:childTnLst>
                          </p:cTn>
                        </p:par>
                        <p:par>
                          <p:cTn id="16" fill="hold">
                            <p:stCondLst>
                              <p:cond delay="1500"/>
                            </p:stCondLst>
                            <p:childTnLst>
                              <p:par>
                                <p:cTn id="17" presetID="45" presetClass="entr" presetSubtype="0"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750"/>
                                        <p:tgtEl>
                                          <p:spTgt spid="27"/>
                                        </p:tgtEl>
                                      </p:cBhvr>
                                    </p:animEffect>
                                    <p:anim calcmode="lin" valueType="num">
                                      <p:cBhvr>
                                        <p:cTn id="20" dur="750" fill="hold"/>
                                        <p:tgtEl>
                                          <p:spTgt spid="27"/>
                                        </p:tgtEl>
                                        <p:attrNameLst>
                                          <p:attrName>ppt_w</p:attrName>
                                        </p:attrNameLst>
                                      </p:cBhvr>
                                      <p:tavLst>
                                        <p:tav tm="0" fmla="#ppt_w*sin(2.5*pi*$)">
                                          <p:val>
                                            <p:fltVal val="0"/>
                                          </p:val>
                                        </p:tav>
                                        <p:tav tm="100000">
                                          <p:val>
                                            <p:fltVal val="1"/>
                                          </p:val>
                                        </p:tav>
                                      </p:tavLst>
                                    </p:anim>
                                    <p:anim calcmode="lin" valueType="num">
                                      <p:cBhvr>
                                        <p:cTn id="21" dur="750" fill="hold"/>
                                        <p:tgtEl>
                                          <p:spTgt spid="27"/>
                                        </p:tgtEl>
                                        <p:attrNameLst>
                                          <p:attrName>ppt_h</p:attrName>
                                        </p:attrNameLst>
                                      </p:cBhvr>
                                      <p:tavLst>
                                        <p:tav tm="0">
                                          <p:val>
                                            <p:strVal val="#ppt_h"/>
                                          </p:val>
                                        </p:tav>
                                        <p:tav tm="100000">
                                          <p:val>
                                            <p:strVal val="#ppt_h"/>
                                          </p:val>
                                        </p:tav>
                                      </p:tavLst>
                                    </p:anim>
                                  </p:childTnLst>
                                </p:cTn>
                              </p:par>
                              <p:par>
                                <p:cTn id="22" presetID="22" presetClass="entr" presetSubtype="8" fill="hold" grpId="0"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wipe(left)">
                                      <p:cBhvr>
                                        <p:cTn id="24" dur="500"/>
                                        <p:tgtEl>
                                          <p:spTgt spid="28"/>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left)">
                                      <p:cBhvr>
                                        <p:cTn id="27" dur="500"/>
                                        <p:tgtEl>
                                          <p:spTgt spid="2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wipe(left)">
                                      <p:cBhvr>
                                        <p:cTn id="30" dur="500"/>
                                        <p:tgtEl>
                                          <p:spTgt spid="30"/>
                                        </p:tgtEl>
                                      </p:cBhvr>
                                    </p:animEffect>
                                  </p:childTnLst>
                                </p:cTn>
                              </p:par>
                            </p:childTnLst>
                          </p:cTn>
                        </p:par>
                        <p:par>
                          <p:cTn id="31" fill="hold">
                            <p:stCondLst>
                              <p:cond delay="2250"/>
                            </p:stCondLst>
                            <p:childTnLst>
                              <p:par>
                                <p:cTn id="32" presetID="45" presetClass="entr" presetSubtype="0" fill="hold" grpId="0"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750"/>
                                        <p:tgtEl>
                                          <p:spTgt spid="4"/>
                                        </p:tgtEl>
                                      </p:cBhvr>
                                    </p:animEffect>
                                    <p:anim calcmode="lin" valueType="num">
                                      <p:cBhvr>
                                        <p:cTn id="35" dur="750" fill="hold"/>
                                        <p:tgtEl>
                                          <p:spTgt spid="4"/>
                                        </p:tgtEl>
                                        <p:attrNameLst>
                                          <p:attrName>ppt_w</p:attrName>
                                        </p:attrNameLst>
                                      </p:cBhvr>
                                      <p:tavLst>
                                        <p:tav tm="0" fmla="#ppt_w*sin(2.5*pi*$)">
                                          <p:val>
                                            <p:fltVal val="0"/>
                                          </p:val>
                                        </p:tav>
                                        <p:tav tm="100000">
                                          <p:val>
                                            <p:fltVal val="1"/>
                                          </p:val>
                                        </p:tav>
                                      </p:tavLst>
                                    </p:anim>
                                    <p:anim calcmode="lin" valueType="num">
                                      <p:cBhvr>
                                        <p:cTn id="36" dur="750" fill="hold"/>
                                        <p:tgtEl>
                                          <p:spTgt spid="4"/>
                                        </p:tgtEl>
                                        <p:attrNameLst>
                                          <p:attrName>ppt_h</p:attrName>
                                        </p:attrNameLst>
                                      </p:cBhvr>
                                      <p:tavLst>
                                        <p:tav tm="0">
                                          <p:val>
                                            <p:strVal val="#ppt_h"/>
                                          </p:val>
                                        </p:tav>
                                        <p:tav tm="100000">
                                          <p:val>
                                            <p:strVal val="#ppt_h"/>
                                          </p:val>
                                        </p:tav>
                                      </p:tavLst>
                                    </p:anim>
                                  </p:childTnLst>
                                </p:cTn>
                              </p:par>
                              <p:par>
                                <p:cTn id="37" presetID="22" presetClass="entr" presetSubtype="8"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left)">
                                      <p:cBhvr>
                                        <p:cTn id="3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7" grpId="0" animBg="1"/>
      <p:bldP spid="28" grpId="0"/>
      <p:bldP spid="29" grpId="0"/>
      <p:bldP spid="30" grpId="0"/>
      <p:bldP spid="4" grpId="0" animBg="1"/>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3843B-8B85-141C-ACFD-8C5FA5482947}"/>
            </a:ext>
          </a:extLst>
        </p:cNvPr>
        <p:cNvGrpSpPr/>
        <p:nvPr/>
      </p:nvGrpSpPr>
      <p:grpSpPr>
        <a:xfrm>
          <a:off x="0" y="0"/>
          <a:ext cx="0" cy="0"/>
          <a:chOff x="0" y="0"/>
          <a:chExt cx="0" cy="0"/>
        </a:xfrm>
      </p:grpSpPr>
      <p:sp>
        <p:nvSpPr>
          <p:cNvPr id="28" name="Rectangle 27">
            <a:extLst>
              <a:ext uri="{FF2B5EF4-FFF2-40B4-BE49-F238E27FC236}">
                <a16:creationId xmlns:a16="http://schemas.microsoft.com/office/drawing/2014/main" id="{1EC8C108-8327-2516-34A5-4037D8CD46E2}"/>
              </a:ext>
            </a:extLst>
          </p:cNvPr>
          <p:cNvSpPr/>
          <p:nvPr/>
        </p:nvSpPr>
        <p:spPr bwMode="auto">
          <a:xfrm>
            <a:off x="8636000" y="0"/>
            <a:ext cx="3556000" cy="6858000"/>
          </a:xfrm>
          <a:prstGeom prst="rect">
            <a:avLst/>
          </a:prstGeom>
          <a:blipFill>
            <a:blip r:embed="rId4"/>
            <a:stretch>
              <a:fillRect/>
            </a:stretch>
          </a:blipFill>
          <a:ln w="9525">
            <a:noFill/>
            <a:round/>
            <a:headEnd/>
            <a:tailEnd/>
          </a:ln>
        </p:spPr>
        <p:txBody>
          <a:bodyPr vert="horz" wrap="square" lIns="121920" tIns="60960" rIns="121920" bIns="60960" numCol="1" rtlCol="0" anchor="t" anchorCtr="0" compatLnSpc="1">
            <a:prstTxWarp prst="textNoShape">
              <a:avLst/>
            </a:prstTxWarp>
            <a:noAutofit/>
          </a:bodyPr>
          <a:lstStyle/>
          <a:p>
            <a:pPr algn="ctr"/>
            <a:endParaRPr lang="en-US" sz="2400"/>
          </a:p>
        </p:txBody>
      </p:sp>
      <p:sp>
        <p:nvSpPr>
          <p:cNvPr id="35" name="Rectangle 34">
            <a:extLst>
              <a:ext uri="{FF2B5EF4-FFF2-40B4-BE49-F238E27FC236}">
                <a16:creationId xmlns:a16="http://schemas.microsoft.com/office/drawing/2014/main" id="{5CDDC543-F7BE-88D5-BA6F-F446F9DED408}"/>
              </a:ext>
            </a:extLst>
          </p:cNvPr>
          <p:cNvSpPr/>
          <p:nvPr/>
        </p:nvSpPr>
        <p:spPr>
          <a:xfrm>
            <a:off x="8636000" y="-7777"/>
            <a:ext cx="3659261" cy="71319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graphicFrame>
        <p:nvGraphicFramePr>
          <p:cNvPr id="96" name="think-cell data - do not delete" hidden="1">
            <a:extLst>
              <a:ext uri="{FF2B5EF4-FFF2-40B4-BE49-F238E27FC236}">
                <a16:creationId xmlns:a16="http://schemas.microsoft.com/office/drawing/2014/main" id="{04CE9BE4-FD72-9F2F-0F0D-2E10D92BE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6" name="think-cell data - do not delete" hidden="1">
                        <a:extLst>
                          <a:ext uri="{FF2B5EF4-FFF2-40B4-BE49-F238E27FC236}">
                            <a16:creationId xmlns:a16="http://schemas.microsoft.com/office/drawing/2014/main" id="{04CE9BE4-FD72-9F2F-0F0D-2E10D92BE1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4B48A4-3A97-3DB7-9788-79F6B641DF51}"/>
              </a:ext>
            </a:extLst>
          </p:cNvPr>
          <p:cNvSpPr>
            <a:spLocks noGrp="1"/>
          </p:cNvSpPr>
          <p:nvPr>
            <p:ph type="title"/>
          </p:nvPr>
        </p:nvSpPr>
        <p:spPr>
          <a:xfrm>
            <a:off x="557784" y="312438"/>
            <a:ext cx="6365468" cy="353174"/>
          </a:xfrm>
        </p:spPr>
        <p:txBody>
          <a:bodyPr vert="horz"/>
          <a:lstStyle/>
          <a:p>
            <a:r>
              <a:rPr lang="en-US" sz="2800"/>
              <a:t>Connect </a:t>
            </a:r>
            <a:r>
              <a:rPr lang="en-US" sz="4000" baseline="30000"/>
              <a:t>+</a:t>
            </a:r>
            <a:r>
              <a:rPr lang="en-US" sz="2800"/>
              <a:t> package</a:t>
            </a:r>
          </a:p>
        </p:txBody>
      </p:sp>
      <p:sp>
        <p:nvSpPr>
          <p:cNvPr id="14" name="Oval 13">
            <a:extLst>
              <a:ext uri="{FF2B5EF4-FFF2-40B4-BE49-F238E27FC236}">
                <a16:creationId xmlns:a16="http://schemas.microsoft.com/office/drawing/2014/main" id="{53DB0EC8-A2D6-D8D7-1BCF-8A3C6BDF9379}"/>
              </a:ext>
            </a:extLst>
          </p:cNvPr>
          <p:cNvSpPr/>
          <p:nvPr/>
        </p:nvSpPr>
        <p:spPr>
          <a:xfrm rot="5400000">
            <a:off x="4870626" y="2036834"/>
            <a:ext cx="722195" cy="7222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19" name="Oval 18">
            <a:extLst>
              <a:ext uri="{FF2B5EF4-FFF2-40B4-BE49-F238E27FC236}">
                <a16:creationId xmlns:a16="http://schemas.microsoft.com/office/drawing/2014/main" id="{98CFCF5B-01DD-38A9-581A-33F240FDF1E6}"/>
              </a:ext>
            </a:extLst>
          </p:cNvPr>
          <p:cNvSpPr/>
          <p:nvPr/>
        </p:nvSpPr>
        <p:spPr>
          <a:xfrm rot="5400000">
            <a:off x="4870626" y="3565611"/>
            <a:ext cx="722195" cy="7222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20" name="Oval 19">
            <a:extLst>
              <a:ext uri="{FF2B5EF4-FFF2-40B4-BE49-F238E27FC236}">
                <a16:creationId xmlns:a16="http://schemas.microsoft.com/office/drawing/2014/main" id="{D66DE625-FBA8-A0D5-B992-EDB7095F49DD}"/>
              </a:ext>
            </a:extLst>
          </p:cNvPr>
          <p:cNvSpPr/>
          <p:nvPr/>
        </p:nvSpPr>
        <p:spPr>
          <a:xfrm rot="5400000">
            <a:off x="4870626" y="5094388"/>
            <a:ext cx="722195" cy="7222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3" name="Rectangle 2">
            <a:extLst>
              <a:ext uri="{FF2B5EF4-FFF2-40B4-BE49-F238E27FC236}">
                <a16:creationId xmlns:a16="http://schemas.microsoft.com/office/drawing/2014/main" id="{011B1296-FB9D-1159-7BBD-0B5C134461C3}"/>
              </a:ext>
            </a:extLst>
          </p:cNvPr>
          <p:cNvSpPr/>
          <p:nvPr/>
        </p:nvSpPr>
        <p:spPr>
          <a:xfrm>
            <a:off x="666608" y="1835954"/>
            <a:ext cx="3970645" cy="1050737"/>
          </a:xfrm>
          <a:prstGeom prst="rect">
            <a:avLst/>
          </a:prstGeom>
        </p:spPr>
        <p:txBody>
          <a:bodyPr wrap="square" lIns="0" tIns="0" rIns="0" bIns="0" anchor="ctr">
            <a:spAutoFit/>
          </a:bodyPr>
          <a:lstStyle/>
          <a:p>
            <a:pPr marL="0" marR="0" lvl="0" indent="0" algn="r" defTabSz="914400" rtl="0" eaLnBrk="1" fontAlgn="auto" latinLnBrk="0" hangingPunct="1">
              <a:lnSpc>
                <a:spcPts val="2133"/>
              </a:lnSpc>
              <a:spcBef>
                <a:spcPts val="0"/>
              </a:spcBef>
              <a:spcAft>
                <a:spcPts val="0"/>
              </a:spcAft>
              <a:buClrTx/>
              <a:buSzTx/>
              <a:buFontTx/>
              <a:buNone/>
              <a:tabLst/>
              <a:defRPr/>
            </a:pPr>
            <a:r>
              <a:rPr kumimoji="0" lang="en-US" sz="1867" b="1" i="0" u="none" strike="noStrike" kern="1200" cap="none" spc="0" normalizeH="0" baseline="0" noProof="0">
                <a:ln>
                  <a:noFill/>
                </a:ln>
                <a:effectLst/>
                <a:uLnTx/>
                <a:uFillTx/>
                <a:latin typeface="Arial Black"/>
                <a:ea typeface="+mn-ea"/>
                <a:cs typeface="+mn-cs"/>
              </a:rPr>
              <a:t>PREDICTIVE MAINTENANCE</a:t>
            </a:r>
          </a:p>
          <a:p>
            <a:pPr lvl="0" algn="r">
              <a:lnSpc>
                <a:spcPts val="2133"/>
              </a:lnSpc>
              <a:defRPr/>
            </a:pPr>
            <a:r>
              <a:rPr lang="en-US" sz="1333">
                <a:latin typeface="Arial"/>
              </a:rPr>
              <a:t>Lower  operating and maintenance costs of assets while enhancing equipment uptime, service operational efficiency, and occupant comfort </a:t>
            </a:r>
          </a:p>
        </p:txBody>
      </p:sp>
      <p:sp>
        <p:nvSpPr>
          <p:cNvPr id="9" name="Rectangle 8">
            <a:extLst>
              <a:ext uri="{FF2B5EF4-FFF2-40B4-BE49-F238E27FC236}">
                <a16:creationId xmlns:a16="http://schemas.microsoft.com/office/drawing/2014/main" id="{0C9CC108-09AC-408D-7103-D3FEA40E84F7}"/>
              </a:ext>
            </a:extLst>
          </p:cNvPr>
          <p:cNvSpPr/>
          <p:nvPr/>
        </p:nvSpPr>
        <p:spPr>
          <a:xfrm>
            <a:off x="632319" y="3502104"/>
            <a:ext cx="3970645" cy="775662"/>
          </a:xfrm>
          <a:prstGeom prst="rect">
            <a:avLst/>
          </a:prstGeom>
        </p:spPr>
        <p:txBody>
          <a:bodyPr wrap="square" lIns="0" tIns="0" rIns="0" bIns="0" anchor="ctr">
            <a:spAutoFit/>
          </a:bodyPr>
          <a:lstStyle/>
          <a:p>
            <a:pPr marL="0" marR="0" lvl="0" indent="0" algn="r" defTabSz="914400" rtl="0" eaLnBrk="1" fontAlgn="auto" latinLnBrk="0" hangingPunct="1">
              <a:lnSpc>
                <a:spcPts val="2133"/>
              </a:lnSpc>
              <a:spcBef>
                <a:spcPts val="0"/>
              </a:spcBef>
              <a:spcAft>
                <a:spcPts val="0"/>
              </a:spcAft>
              <a:buClrTx/>
              <a:buSzTx/>
              <a:buFontTx/>
              <a:buNone/>
              <a:tabLst/>
              <a:defRPr/>
            </a:pPr>
            <a:r>
              <a:rPr kumimoji="0" lang="en-US" sz="1867" b="1" i="0" u="none" strike="noStrike" kern="1200" cap="none" spc="0" normalizeH="0" baseline="0" noProof="0">
                <a:ln>
                  <a:noFill/>
                </a:ln>
                <a:effectLst/>
                <a:uLnTx/>
                <a:uFillTx/>
                <a:latin typeface="Arial Black"/>
                <a:ea typeface="+mn-ea"/>
                <a:cs typeface="+mn-cs"/>
              </a:rPr>
              <a:t>REMOTE </a:t>
            </a:r>
            <a:r>
              <a:rPr lang="en-US" sz="1867" b="1" noProof="0">
                <a:latin typeface="Arial Black"/>
              </a:rPr>
              <a:t>PREVENTIVE MAINT.</a:t>
            </a:r>
            <a:endParaRPr kumimoji="0" lang="en-US" sz="1867" b="1" i="0" u="none" strike="noStrike" kern="1200" cap="none" spc="0" normalizeH="0" baseline="0" noProof="0">
              <a:ln>
                <a:noFill/>
              </a:ln>
              <a:effectLst/>
              <a:uLnTx/>
              <a:uFillTx/>
              <a:latin typeface="Arial Black"/>
            </a:endParaRPr>
          </a:p>
          <a:p>
            <a:pPr lvl="0" algn="r">
              <a:lnSpc>
                <a:spcPts val="2133"/>
              </a:lnSpc>
              <a:defRPr/>
            </a:pPr>
            <a:r>
              <a:rPr lang="en-US" sz="1333">
                <a:latin typeface="Arial"/>
              </a:rPr>
              <a:t>Remote functional tests as part of planned maintenance,  along with detailed service reports</a:t>
            </a:r>
          </a:p>
        </p:txBody>
      </p:sp>
      <p:sp>
        <p:nvSpPr>
          <p:cNvPr id="10" name="Rectangle 9">
            <a:extLst>
              <a:ext uri="{FF2B5EF4-FFF2-40B4-BE49-F238E27FC236}">
                <a16:creationId xmlns:a16="http://schemas.microsoft.com/office/drawing/2014/main" id="{EDECF57E-8357-F6F6-3B17-D213C6077962}"/>
              </a:ext>
            </a:extLst>
          </p:cNvPr>
          <p:cNvSpPr/>
          <p:nvPr/>
        </p:nvSpPr>
        <p:spPr>
          <a:xfrm>
            <a:off x="666609" y="5285273"/>
            <a:ext cx="3970645" cy="775662"/>
          </a:xfrm>
          <a:prstGeom prst="rect">
            <a:avLst/>
          </a:prstGeom>
        </p:spPr>
        <p:txBody>
          <a:bodyPr wrap="square" lIns="0" tIns="0" rIns="0" bIns="0" anchor="ctr">
            <a:spAutoFit/>
          </a:bodyPr>
          <a:lstStyle/>
          <a:p>
            <a:pPr marL="0" marR="0" lvl="0" indent="0" algn="r" defTabSz="914400" rtl="0" eaLnBrk="1" fontAlgn="auto" latinLnBrk="0" hangingPunct="1">
              <a:lnSpc>
                <a:spcPts val="2133"/>
              </a:lnSpc>
              <a:spcBef>
                <a:spcPts val="0"/>
              </a:spcBef>
              <a:spcAft>
                <a:spcPts val="0"/>
              </a:spcAft>
              <a:buClrTx/>
              <a:buSzTx/>
              <a:buFontTx/>
              <a:buNone/>
              <a:tabLst/>
              <a:defRPr/>
            </a:pPr>
            <a:r>
              <a:rPr kumimoji="0" lang="en-US" sz="1867" b="1" i="0" u="none" strike="noStrike" kern="1200" cap="none" spc="0" normalizeH="0" baseline="0" noProof="0">
                <a:ln>
                  <a:noFill/>
                </a:ln>
                <a:effectLst/>
                <a:uLnTx/>
                <a:uFillTx/>
                <a:latin typeface="Arial Black"/>
                <a:ea typeface="+mn-ea"/>
                <a:cs typeface="+mn-cs"/>
              </a:rPr>
              <a:t>INSIGHT &amp;</a:t>
            </a:r>
            <a:r>
              <a:rPr kumimoji="0" lang="en-US" sz="1867" b="1" i="0" u="none" strike="noStrike" kern="1200" cap="none" spc="0" normalizeH="0" noProof="0">
                <a:ln>
                  <a:noFill/>
                </a:ln>
                <a:effectLst/>
                <a:uLnTx/>
                <a:uFillTx/>
                <a:latin typeface="Arial Black"/>
                <a:ea typeface="+mn-ea"/>
                <a:cs typeface="+mn-cs"/>
              </a:rPr>
              <a:t> REPORT BUILDER</a:t>
            </a:r>
            <a:endParaRPr kumimoji="0" lang="en-US" sz="1867" b="1" i="0" u="none" strike="noStrike" kern="1200" cap="none" spc="0" normalizeH="0" baseline="0" noProof="0">
              <a:ln>
                <a:noFill/>
              </a:ln>
              <a:effectLst/>
              <a:uLnTx/>
              <a:uFillTx/>
              <a:latin typeface="Arial Black"/>
              <a:ea typeface="+mn-ea"/>
              <a:cs typeface="+mn-cs"/>
            </a:endParaRPr>
          </a:p>
          <a:p>
            <a:pPr lvl="0" algn="r">
              <a:lnSpc>
                <a:spcPts val="2133"/>
              </a:lnSpc>
              <a:defRPr/>
            </a:pPr>
            <a:r>
              <a:rPr lang="en-US" sz="1333">
                <a:latin typeface="Arial"/>
              </a:rPr>
              <a:t>Tool to create custom dashboards and gain insights from various data sources easel</a:t>
            </a:r>
          </a:p>
        </p:txBody>
      </p:sp>
      <p:pic>
        <p:nvPicPr>
          <p:cNvPr id="16" name="Graphic 15" descr="Checkmark with solid fill">
            <a:extLst>
              <a:ext uri="{FF2B5EF4-FFF2-40B4-BE49-F238E27FC236}">
                <a16:creationId xmlns:a16="http://schemas.microsoft.com/office/drawing/2014/main" id="{5767E9B0-1A8B-189D-AD1F-B58B8AF55E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70754" y="2167827"/>
            <a:ext cx="520846" cy="520846"/>
          </a:xfrm>
          <a:prstGeom prst="rect">
            <a:avLst/>
          </a:prstGeom>
        </p:spPr>
      </p:pic>
      <p:pic>
        <p:nvPicPr>
          <p:cNvPr id="21" name="Graphic 20" descr="Checkmark with solid fill">
            <a:extLst>
              <a:ext uri="{FF2B5EF4-FFF2-40B4-BE49-F238E27FC236}">
                <a16:creationId xmlns:a16="http://schemas.microsoft.com/office/drawing/2014/main" id="{0CE41A7A-FB3D-777F-396E-8E19321E18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68034" y="3665821"/>
            <a:ext cx="520846" cy="520846"/>
          </a:xfrm>
          <a:prstGeom prst="rect">
            <a:avLst/>
          </a:prstGeom>
        </p:spPr>
      </p:pic>
      <p:pic>
        <p:nvPicPr>
          <p:cNvPr id="22" name="Graphic 21" descr="Checkmark with solid fill">
            <a:extLst>
              <a:ext uri="{FF2B5EF4-FFF2-40B4-BE49-F238E27FC236}">
                <a16:creationId xmlns:a16="http://schemas.microsoft.com/office/drawing/2014/main" id="{1BB26377-15E6-FF98-83E3-6C31316D59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68034" y="5214279"/>
            <a:ext cx="520846" cy="520846"/>
          </a:xfrm>
          <a:prstGeom prst="rect">
            <a:avLst/>
          </a:prstGeom>
        </p:spPr>
      </p:pic>
      <p:sp>
        <p:nvSpPr>
          <p:cNvPr id="5" name="Rectangle 4">
            <a:extLst>
              <a:ext uri="{FF2B5EF4-FFF2-40B4-BE49-F238E27FC236}">
                <a16:creationId xmlns:a16="http://schemas.microsoft.com/office/drawing/2014/main" id="{28FB32F9-CAE4-56EC-9E32-244A023E48A5}"/>
              </a:ext>
            </a:extLst>
          </p:cNvPr>
          <p:cNvSpPr/>
          <p:nvPr/>
        </p:nvSpPr>
        <p:spPr bwMode="auto">
          <a:xfrm>
            <a:off x="8788400" y="-7777"/>
            <a:ext cx="3556000" cy="6865777"/>
          </a:xfrm>
          <a:prstGeom prst="rect">
            <a:avLst/>
          </a:prstGeom>
          <a:blipFill>
            <a:blip r:embed="rId4"/>
            <a:stretch>
              <a:fillRect/>
            </a:stretch>
          </a:blipFill>
          <a:ln w="9525">
            <a:noFill/>
            <a:round/>
            <a:headEnd/>
            <a:tailEnd/>
          </a:ln>
        </p:spPr>
        <p:txBody>
          <a:bodyPr vert="horz" wrap="square" lIns="121920" tIns="60960" rIns="121920" bIns="60960" numCol="1" rtlCol="0" anchor="t" anchorCtr="0" compatLnSpc="1">
            <a:prstTxWarp prst="textNoShape">
              <a:avLst/>
            </a:prstTxWarp>
            <a:noAutofit/>
          </a:bodyPr>
          <a:lstStyle/>
          <a:p>
            <a:pPr algn="ctr"/>
            <a:endParaRPr lang="en-US" sz="2400"/>
          </a:p>
        </p:txBody>
      </p:sp>
      <p:pic>
        <p:nvPicPr>
          <p:cNvPr id="4" name="Picture 3" descr="A black background with white text&#10;&#10;AI-generated content may be incorrect.">
            <a:extLst>
              <a:ext uri="{FF2B5EF4-FFF2-40B4-BE49-F238E27FC236}">
                <a16:creationId xmlns:a16="http://schemas.microsoft.com/office/drawing/2014/main" id="{425CC836-7613-CA3F-B632-D1D4DF1E3887}"/>
              </a:ext>
            </a:extLst>
          </p:cNvPr>
          <p:cNvPicPr>
            <a:picLocks noChangeAspect="1"/>
          </p:cNvPicPr>
          <p:nvPr/>
        </p:nvPicPr>
        <p:blipFill>
          <a:blip r:embed="rId9"/>
          <a:stretch>
            <a:fillRect/>
          </a:stretch>
        </p:blipFill>
        <p:spPr>
          <a:xfrm>
            <a:off x="10243709" y="5566988"/>
            <a:ext cx="1533525" cy="895350"/>
          </a:xfrm>
          <a:prstGeom prst="rect">
            <a:avLst/>
          </a:prstGeom>
        </p:spPr>
      </p:pic>
      <p:grpSp>
        <p:nvGrpSpPr>
          <p:cNvPr id="31" name="Group 20">
            <a:extLst>
              <a:ext uri="{FF2B5EF4-FFF2-40B4-BE49-F238E27FC236}">
                <a16:creationId xmlns:a16="http://schemas.microsoft.com/office/drawing/2014/main" id="{A8FD0187-AC7D-991E-84F0-B1EB5AB0EECD}"/>
              </a:ext>
            </a:extLst>
          </p:cNvPr>
          <p:cNvGrpSpPr/>
          <p:nvPr/>
        </p:nvGrpSpPr>
        <p:grpSpPr>
          <a:xfrm>
            <a:off x="6440300" y="1403626"/>
            <a:ext cx="5082180" cy="4043649"/>
            <a:chOff x="2094899" y="1081795"/>
            <a:chExt cx="4400683" cy="3501414"/>
          </a:xfrm>
          <a:effectLst/>
        </p:grpSpPr>
        <p:sp>
          <p:nvSpPr>
            <p:cNvPr id="32" name="Rectangle 31">
              <a:extLst>
                <a:ext uri="{FF2B5EF4-FFF2-40B4-BE49-F238E27FC236}">
                  <a16:creationId xmlns:a16="http://schemas.microsoft.com/office/drawing/2014/main" id="{24E56029-C557-E4D1-8B0E-3C54C343546D}"/>
                </a:ext>
              </a:extLst>
            </p:cNvPr>
            <p:cNvSpPr/>
            <p:nvPr/>
          </p:nvSpPr>
          <p:spPr>
            <a:xfrm>
              <a:off x="2285399" y="1247618"/>
              <a:ext cx="4008120"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Freeform 5">
              <a:extLst>
                <a:ext uri="{FF2B5EF4-FFF2-40B4-BE49-F238E27FC236}">
                  <a16:creationId xmlns:a16="http://schemas.microsoft.com/office/drawing/2014/main" id="{927E2E8F-322B-FC82-3E09-74AD8EEB0A72}"/>
                </a:ext>
              </a:extLst>
            </p:cNvPr>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75000"/>
                <a:lumOff val="2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6" name="Freeform 47">
              <a:extLst>
                <a:ext uri="{FF2B5EF4-FFF2-40B4-BE49-F238E27FC236}">
                  <a16:creationId xmlns:a16="http://schemas.microsoft.com/office/drawing/2014/main" id="{67B51F61-3CA1-C6F4-4485-83DF35B92636}"/>
                </a:ext>
              </a:extLst>
            </p:cNvPr>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4" name="Freeform 27">
              <a:extLst>
                <a:ext uri="{FF2B5EF4-FFF2-40B4-BE49-F238E27FC236}">
                  <a16:creationId xmlns:a16="http://schemas.microsoft.com/office/drawing/2014/main" id="{3F579693-6CF2-4A35-E697-B7D6E50E6FAE}"/>
                </a:ext>
              </a:extLst>
            </p:cNvPr>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121920" tIns="60960" rIns="121920" bIns="60960" numCol="1" anchor="t" anchorCtr="0" compatLnSpc="1">
              <a:prstTxWarp prst="textNoShape">
                <a:avLst/>
              </a:prstTxWarp>
            </a:bodyPr>
            <a:lstStyle/>
            <a:p>
              <a:r>
                <a:rPr lang="en-US" sz="2400"/>
                <a:t> </a:t>
              </a:r>
            </a:p>
          </p:txBody>
        </p:sp>
      </p:grpSp>
      <p:pic>
        <p:nvPicPr>
          <p:cNvPr id="40" name="Picture 39">
            <a:extLst>
              <a:ext uri="{FF2B5EF4-FFF2-40B4-BE49-F238E27FC236}">
                <a16:creationId xmlns:a16="http://schemas.microsoft.com/office/drawing/2014/main" id="{CA12A6B1-0812-B44F-423A-6DEEA5F88A3C}"/>
              </a:ext>
            </a:extLst>
          </p:cNvPr>
          <p:cNvPicPr>
            <a:picLocks noChangeAspect="1"/>
          </p:cNvPicPr>
          <p:nvPr/>
        </p:nvPicPr>
        <p:blipFill>
          <a:blip r:embed="rId10"/>
          <a:stretch>
            <a:fillRect/>
          </a:stretch>
        </p:blipFill>
        <p:spPr>
          <a:xfrm>
            <a:off x="6569338" y="1492980"/>
            <a:ext cx="4719787" cy="2884313"/>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508705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anim calcmode="lin" valueType="num">
                                      <p:cBhvr>
                                        <p:cTn id="8" dur="750" fill="hold"/>
                                        <p:tgtEl>
                                          <p:spTgt spid="14"/>
                                        </p:tgtEl>
                                        <p:attrNameLst>
                                          <p:attrName>ppt_w</p:attrName>
                                        </p:attrNameLst>
                                      </p:cBhvr>
                                      <p:tavLst>
                                        <p:tav tm="0" fmla="#ppt_w*sin(2.5*pi*$)">
                                          <p:val>
                                            <p:fltVal val="0"/>
                                          </p:val>
                                        </p:tav>
                                        <p:tav tm="100000">
                                          <p:val>
                                            <p:fltVal val="1"/>
                                          </p:val>
                                        </p:tav>
                                      </p:tavLst>
                                    </p:anim>
                                    <p:anim calcmode="lin" valueType="num">
                                      <p:cBhvr>
                                        <p:cTn id="9" dur="750" fill="hold"/>
                                        <p:tgtEl>
                                          <p:spTgt spid="14"/>
                                        </p:tgtEl>
                                        <p:attrNameLst>
                                          <p:attrName>ppt_h</p:attrName>
                                        </p:attrNameLst>
                                      </p:cBhvr>
                                      <p:tavLst>
                                        <p:tav tm="0">
                                          <p:val>
                                            <p:strVal val="#ppt_h"/>
                                          </p:val>
                                        </p:tav>
                                        <p:tav tm="100000">
                                          <p:val>
                                            <p:strVal val="#ppt_h"/>
                                          </p:val>
                                        </p:tav>
                                      </p:tavLst>
                                    </p:anim>
                                  </p:childTnLst>
                                </p:cTn>
                              </p:par>
                            </p:childTnLst>
                          </p:cTn>
                        </p:par>
                        <p:par>
                          <p:cTn id="10" fill="hold">
                            <p:stCondLst>
                              <p:cond delay="750"/>
                            </p:stCondLst>
                            <p:childTnLst>
                              <p:par>
                                <p:cTn id="11" presetID="45" presetClass="entr" presetSubtype="0" fill="hold" grpId="0"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750"/>
                                        <p:tgtEl>
                                          <p:spTgt spid="19"/>
                                        </p:tgtEl>
                                      </p:cBhvr>
                                    </p:animEffect>
                                    <p:anim calcmode="lin" valueType="num">
                                      <p:cBhvr>
                                        <p:cTn id="14" dur="750" fill="hold"/>
                                        <p:tgtEl>
                                          <p:spTgt spid="19"/>
                                        </p:tgtEl>
                                        <p:attrNameLst>
                                          <p:attrName>ppt_w</p:attrName>
                                        </p:attrNameLst>
                                      </p:cBhvr>
                                      <p:tavLst>
                                        <p:tav tm="0" fmla="#ppt_w*sin(2.5*pi*$)">
                                          <p:val>
                                            <p:fltVal val="0"/>
                                          </p:val>
                                        </p:tav>
                                        <p:tav tm="100000">
                                          <p:val>
                                            <p:fltVal val="1"/>
                                          </p:val>
                                        </p:tav>
                                      </p:tavLst>
                                    </p:anim>
                                    <p:anim calcmode="lin" valueType="num">
                                      <p:cBhvr>
                                        <p:cTn id="15" dur="750" fill="hold"/>
                                        <p:tgtEl>
                                          <p:spTgt spid="19"/>
                                        </p:tgtEl>
                                        <p:attrNameLst>
                                          <p:attrName>ppt_h</p:attrName>
                                        </p:attrNameLst>
                                      </p:cBhvr>
                                      <p:tavLst>
                                        <p:tav tm="0">
                                          <p:val>
                                            <p:strVal val="#ppt_h"/>
                                          </p:val>
                                        </p:tav>
                                        <p:tav tm="100000">
                                          <p:val>
                                            <p:strVal val="#ppt_h"/>
                                          </p:val>
                                        </p:tav>
                                      </p:tavLst>
                                    </p:anim>
                                  </p:childTnLst>
                                </p:cTn>
                              </p:par>
                            </p:childTnLst>
                          </p:cTn>
                        </p:par>
                        <p:par>
                          <p:cTn id="16" fill="hold">
                            <p:stCondLst>
                              <p:cond delay="1500"/>
                            </p:stCondLst>
                            <p:childTnLst>
                              <p:par>
                                <p:cTn id="17" presetID="45"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750"/>
                                        <p:tgtEl>
                                          <p:spTgt spid="20"/>
                                        </p:tgtEl>
                                      </p:cBhvr>
                                    </p:animEffect>
                                    <p:anim calcmode="lin" valueType="num">
                                      <p:cBhvr>
                                        <p:cTn id="20" dur="750" fill="hold"/>
                                        <p:tgtEl>
                                          <p:spTgt spid="20"/>
                                        </p:tgtEl>
                                        <p:attrNameLst>
                                          <p:attrName>ppt_w</p:attrName>
                                        </p:attrNameLst>
                                      </p:cBhvr>
                                      <p:tavLst>
                                        <p:tav tm="0" fmla="#ppt_w*sin(2.5*pi*$)">
                                          <p:val>
                                            <p:fltVal val="0"/>
                                          </p:val>
                                        </p:tav>
                                        <p:tav tm="100000">
                                          <p:val>
                                            <p:fltVal val="1"/>
                                          </p:val>
                                        </p:tav>
                                      </p:tavLst>
                                    </p:anim>
                                    <p:anim calcmode="lin" valueType="num">
                                      <p:cBhvr>
                                        <p:cTn id="21" dur="750" fill="hold"/>
                                        <p:tgtEl>
                                          <p:spTgt spid="20"/>
                                        </p:tgtEl>
                                        <p:attrNameLst>
                                          <p:attrName>ppt_h</p:attrName>
                                        </p:attrNameLst>
                                      </p:cBhvr>
                                      <p:tavLst>
                                        <p:tav tm="0">
                                          <p:val>
                                            <p:strVal val="#ppt_h"/>
                                          </p:val>
                                        </p:tav>
                                        <p:tav tm="100000">
                                          <p:val>
                                            <p:strVal val="#ppt_h"/>
                                          </p:val>
                                        </p:tav>
                                      </p:tavLst>
                                    </p:anim>
                                  </p:childTnLst>
                                </p:cTn>
                              </p:par>
                              <p:par>
                                <p:cTn id="22" presetID="22" presetClass="entr" presetSubtype="8" fill="hold" grpId="0"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wipe(left)">
                                      <p:cBhvr>
                                        <p:cTn id="24" dur="500"/>
                                        <p:tgtEl>
                                          <p:spTgt spid="3"/>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0" grpId="0" animBg="1"/>
      <p:bldP spid="3" grpId="0"/>
      <p:bldP spid="9"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F8EC04-6783-FC4F-F8E3-30DD17E4A716}"/>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BC962C99-7FFD-FB18-F633-8CCB56971BB1}"/>
              </a:ext>
            </a:extLst>
          </p:cNvPr>
          <p:cNvSpPr/>
          <p:nvPr/>
        </p:nvSpPr>
        <p:spPr bwMode="auto">
          <a:xfrm>
            <a:off x="8636000" y="0"/>
            <a:ext cx="3556000" cy="6858000"/>
          </a:xfrm>
          <a:prstGeom prst="rect">
            <a:avLst/>
          </a:prstGeom>
          <a:blipFill>
            <a:blip r:embed="rId3"/>
            <a:stretch>
              <a:fillRect/>
            </a:stretch>
          </a:blipFill>
          <a:ln w="9525">
            <a:noFill/>
            <a:round/>
            <a:headEnd/>
            <a:tailEnd/>
          </a:ln>
        </p:spPr>
        <p:txBody>
          <a:bodyPr vert="horz" wrap="square" lIns="121920" tIns="60960" rIns="121920" bIns="60960" numCol="1" rtlCol="0" anchor="t" anchorCtr="0" compatLnSpc="1">
            <a:prstTxWarp prst="textNoShape">
              <a:avLst/>
            </a:prstTxWarp>
            <a:noAutofit/>
          </a:bodyPr>
          <a:lstStyle/>
          <a:p>
            <a:pPr algn="ctr"/>
            <a:endParaRPr lang="en-US" sz="2400"/>
          </a:p>
        </p:txBody>
      </p:sp>
      <p:grpSp>
        <p:nvGrpSpPr>
          <p:cNvPr id="25" name="Group 20">
            <a:extLst>
              <a:ext uri="{FF2B5EF4-FFF2-40B4-BE49-F238E27FC236}">
                <a16:creationId xmlns:a16="http://schemas.microsoft.com/office/drawing/2014/main" id="{33ECF3DC-98D9-A01A-3EC0-211E1525E6E3}"/>
              </a:ext>
            </a:extLst>
          </p:cNvPr>
          <p:cNvGrpSpPr/>
          <p:nvPr/>
        </p:nvGrpSpPr>
        <p:grpSpPr>
          <a:xfrm>
            <a:off x="6440300" y="1403626"/>
            <a:ext cx="5082180" cy="4043649"/>
            <a:chOff x="2094899" y="1081795"/>
            <a:chExt cx="4400683" cy="3501414"/>
          </a:xfrm>
          <a:effectLst/>
        </p:grpSpPr>
        <p:sp>
          <p:nvSpPr>
            <p:cNvPr id="45" name="Rectangle 44">
              <a:extLst>
                <a:ext uri="{FF2B5EF4-FFF2-40B4-BE49-F238E27FC236}">
                  <a16:creationId xmlns:a16="http://schemas.microsoft.com/office/drawing/2014/main" id="{BEB2DF98-53B8-B1EC-FF91-B8A448686168}"/>
                </a:ext>
              </a:extLst>
            </p:cNvPr>
            <p:cNvSpPr/>
            <p:nvPr/>
          </p:nvSpPr>
          <p:spPr>
            <a:xfrm>
              <a:off x="2285399" y="1247618"/>
              <a:ext cx="4008120"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 name="Freeform 5">
              <a:extLst>
                <a:ext uri="{FF2B5EF4-FFF2-40B4-BE49-F238E27FC236}">
                  <a16:creationId xmlns:a16="http://schemas.microsoft.com/office/drawing/2014/main" id="{859509AB-61F9-963A-D0F8-6D5CA7744548}"/>
                </a:ext>
              </a:extLst>
            </p:cNvPr>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75000"/>
                <a:lumOff val="2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7" name="Freeform 27">
              <a:extLst>
                <a:ext uri="{FF2B5EF4-FFF2-40B4-BE49-F238E27FC236}">
                  <a16:creationId xmlns:a16="http://schemas.microsoft.com/office/drawing/2014/main" id="{5C39752B-8B90-F448-7732-F62040984BD5}"/>
                </a:ext>
              </a:extLst>
            </p:cNvPr>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121920" tIns="60960" rIns="121920" bIns="60960" numCol="1" anchor="t" anchorCtr="0" compatLnSpc="1">
              <a:prstTxWarp prst="textNoShape">
                <a:avLst/>
              </a:prstTxWarp>
            </a:bodyPr>
            <a:lstStyle/>
            <a:p>
              <a:r>
                <a:rPr lang="en-US" sz="2400"/>
                <a:t> </a:t>
              </a:r>
            </a:p>
          </p:txBody>
        </p:sp>
        <p:sp>
          <p:nvSpPr>
            <p:cNvPr id="48" name="Freeform 47">
              <a:extLst>
                <a:ext uri="{FF2B5EF4-FFF2-40B4-BE49-F238E27FC236}">
                  <a16:creationId xmlns:a16="http://schemas.microsoft.com/office/drawing/2014/main" id="{F42AEFD2-2898-BDDC-998D-039E536AD051}"/>
                </a:ext>
              </a:extLst>
            </p:cNvPr>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2" name="Title 1">
            <a:extLst>
              <a:ext uri="{FF2B5EF4-FFF2-40B4-BE49-F238E27FC236}">
                <a16:creationId xmlns:a16="http://schemas.microsoft.com/office/drawing/2014/main" id="{282229FE-4BC7-0BE4-409E-33748EBC0FB1}"/>
              </a:ext>
            </a:extLst>
          </p:cNvPr>
          <p:cNvSpPr>
            <a:spLocks noGrp="1"/>
          </p:cNvSpPr>
          <p:nvPr>
            <p:ph type="title"/>
          </p:nvPr>
        </p:nvSpPr>
        <p:spPr>
          <a:xfrm>
            <a:off x="358819" y="427059"/>
            <a:ext cx="11446494" cy="353174"/>
          </a:xfrm>
        </p:spPr>
        <p:txBody>
          <a:bodyPr/>
          <a:lstStyle/>
          <a:p>
            <a:r>
              <a:rPr lang="en-US" sz="2800"/>
              <a:t>END USER applications &amp; services</a:t>
            </a:r>
          </a:p>
        </p:txBody>
      </p:sp>
      <p:pic>
        <p:nvPicPr>
          <p:cNvPr id="6" name="Picture 5">
            <a:extLst>
              <a:ext uri="{FF2B5EF4-FFF2-40B4-BE49-F238E27FC236}">
                <a16:creationId xmlns:a16="http://schemas.microsoft.com/office/drawing/2014/main" id="{5FDF7016-D7F1-B7B3-9724-BD14C3613C1C}"/>
              </a:ext>
            </a:extLst>
          </p:cNvPr>
          <p:cNvPicPr>
            <a:picLocks noChangeAspect="1"/>
          </p:cNvPicPr>
          <p:nvPr/>
        </p:nvPicPr>
        <p:blipFill>
          <a:blip r:embed="rId4"/>
          <a:stretch>
            <a:fillRect/>
          </a:stretch>
        </p:blipFill>
        <p:spPr>
          <a:xfrm>
            <a:off x="6563873" y="1520526"/>
            <a:ext cx="4725252" cy="2868541"/>
          </a:xfrm>
          <a:prstGeom prst="rect">
            <a:avLst/>
          </a:prstGeom>
        </p:spPr>
      </p:pic>
      <p:sp>
        <p:nvSpPr>
          <p:cNvPr id="10" name="Inhaltsplatzhalter 4">
            <a:extLst>
              <a:ext uri="{FF2B5EF4-FFF2-40B4-BE49-F238E27FC236}">
                <a16:creationId xmlns:a16="http://schemas.microsoft.com/office/drawing/2014/main" id="{653BE780-7260-81E5-1964-5E82C2D95304}"/>
              </a:ext>
            </a:extLst>
          </p:cNvPr>
          <p:cNvSpPr txBox="1">
            <a:spLocks/>
          </p:cNvSpPr>
          <p:nvPr/>
        </p:nvSpPr>
        <p:spPr>
          <a:xfrm>
            <a:off x="1465459" y="1284497"/>
            <a:ext cx="4971600" cy="1169551"/>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a:solidFill>
                  <a:schemeClr val="accent2"/>
                </a:solidFill>
                <a:latin typeface="+mj-lt"/>
              </a:rPr>
              <a:t>Carbon &amp; Energy Monitor</a:t>
            </a:r>
            <a:br>
              <a:rPr lang="en-US" sz="1100">
                <a:solidFill>
                  <a:schemeClr val="accent1"/>
                </a:solidFill>
                <a:latin typeface="+mn-lt"/>
              </a:rPr>
            </a:br>
            <a:r>
              <a:rPr lang="en-US" sz="1400" i="1" kern="100">
                <a:solidFill>
                  <a:schemeClr val="tx1"/>
                </a:solidFill>
                <a:latin typeface="Arial" panose="020B0604020202020204" pitchFamily="34" charset="0"/>
                <a:cs typeface="Times New Roman" panose="02020603050405020304" pitchFamily="18" charset="0"/>
              </a:rPr>
              <a:t>Designed to m</a:t>
            </a:r>
            <a:r>
              <a:rPr lang="en-US" sz="1400" i="1" kern="100">
                <a:solidFill>
                  <a:schemeClr val="tx1"/>
                </a:solidFill>
                <a:latin typeface="Arial" panose="020B0604020202020204" pitchFamily="34" charset="0"/>
                <a:ea typeface="Aptos" panose="020B0004020202020204" pitchFamily="34" charset="0"/>
                <a:cs typeface="Times New Roman" panose="02020603050405020304" pitchFamily="18" charset="0"/>
              </a:rPr>
              <a:t>aintain occupant comfort and reducing the environmental impact of buildings with the aim of improving carbon-reduction goals.</a:t>
            </a:r>
          </a:p>
          <a:p>
            <a:pPr marL="0" indent="0">
              <a:lnSpc>
                <a:spcPct val="100000"/>
              </a:lnSpc>
              <a:spcAft>
                <a:spcPts val="0"/>
              </a:spcAft>
              <a:buNone/>
            </a:pPr>
            <a:endParaRPr lang="en-US" sz="1400" i="1" kern="100">
              <a:solidFill>
                <a:schemeClr val="tx1"/>
              </a:solidFill>
              <a:latin typeface="Arial" panose="020B0604020202020204" pitchFamily="34" charset="0"/>
              <a:ea typeface="Aptos" panose="020B0004020202020204" pitchFamily="34" charset="0"/>
              <a:cs typeface="Times New Roman" panose="02020603050405020304" pitchFamily="18" charset="0"/>
            </a:endParaRPr>
          </a:p>
        </p:txBody>
      </p:sp>
      <p:sp>
        <p:nvSpPr>
          <p:cNvPr id="14" name="Inhaltsplatzhalter 4">
            <a:extLst>
              <a:ext uri="{FF2B5EF4-FFF2-40B4-BE49-F238E27FC236}">
                <a16:creationId xmlns:a16="http://schemas.microsoft.com/office/drawing/2014/main" id="{D4CFFEDB-23EB-5074-0890-F7F280DEF753}"/>
              </a:ext>
            </a:extLst>
          </p:cNvPr>
          <p:cNvSpPr txBox="1">
            <a:spLocks/>
          </p:cNvSpPr>
          <p:nvPr/>
        </p:nvSpPr>
        <p:spPr>
          <a:xfrm>
            <a:off x="1482582" y="2606179"/>
            <a:ext cx="4971600" cy="73866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a:solidFill>
                  <a:schemeClr val="accent2"/>
                </a:solidFill>
                <a:latin typeface="+mj-lt"/>
              </a:rPr>
              <a:t>Connected Power</a:t>
            </a:r>
            <a:br>
              <a:rPr lang="en-US" sz="1100">
                <a:latin typeface="+mn-lt"/>
              </a:rPr>
            </a:br>
            <a:r>
              <a:rPr lang="en-US" sz="1400" i="1" kern="100" err="1">
                <a:solidFill>
                  <a:schemeClr val="tx1"/>
                </a:solidFill>
                <a:latin typeface="Arial"/>
                <a:cs typeface="Times New Roman"/>
              </a:rPr>
              <a:t>Centralised</a:t>
            </a:r>
            <a:r>
              <a:rPr lang="en-US" sz="1400" i="1" kern="100">
                <a:solidFill>
                  <a:schemeClr val="tx1"/>
                </a:solidFill>
                <a:latin typeface="Arial"/>
                <a:cs typeface="Times New Roman"/>
              </a:rPr>
              <a:t> control over a buildings plug in energy use, with in build temperature monitoring and override capability.</a:t>
            </a:r>
            <a:endParaRPr lang="en-US" sz="1400" i="1" kern="100">
              <a:solidFill>
                <a:schemeClr val="tx1"/>
              </a:solidFill>
              <a:latin typeface="Arial" panose="020B0604020202020204" pitchFamily="34" charset="0"/>
              <a:ea typeface="Aptos" panose="020B0004020202020204" pitchFamily="34" charset="0"/>
              <a:cs typeface="Times New Roman" panose="02020603050405020304" pitchFamily="18" charset="0"/>
            </a:endParaRPr>
          </a:p>
        </p:txBody>
      </p:sp>
      <p:sp>
        <p:nvSpPr>
          <p:cNvPr id="15" name="Inhaltsplatzhalter 4">
            <a:extLst>
              <a:ext uri="{FF2B5EF4-FFF2-40B4-BE49-F238E27FC236}">
                <a16:creationId xmlns:a16="http://schemas.microsoft.com/office/drawing/2014/main" id="{06D262A5-3BBC-D7E3-9141-4258AA4B4754}"/>
              </a:ext>
            </a:extLst>
          </p:cNvPr>
          <p:cNvSpPr txBox="1">
            <a:spLocks/>
          </p:cNvSpPr>
          <p:nvPr/>
        </p:nvSpPr>
        <p:spPr>
          <a:xfrm>
            <a:off x="1465459" y="4046773"/>
            <a:ext cx="4971600" cy="954107"/>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a:solidFill>
                  <a:schemeClr val="accent2"/>
                </a:solidFill>
                <a:latin typeface="+mj-lt"/>
              </a:rPr>
              <a:t>Managed Services </a:t>
            </a:r>
          </a:p>
          <a:p>
            <a:pPr marL="0" indent="0">
              <a:lnSpc>
                <a:spcPct val="100000"/>
              </a:lnSpc>
              <a:spcAft>
                <a:spcPts val="0"/>
              </a:spcAft>
              <a:buNone/>
            </a:pPr>
            <a:r>
              <a:rPr lang="en-US" sz="1400" i="1" kern="100">
                <a:solidFill>
                  <a:schemeClr val="tx1"/>
                </a:solidFill>
                <a:latin typeface="Arial"/>
                <a:cs typeface="Times New Roman"/>
              </a:rPr>
              <a:t>Access Honeywell Building Operations Centre’s (HBOC) managed services for alarm management, remote triage, Remote Preventive Maintenance </a:t>
            </a:r>
          </a:p>
        </p:txBody>
      </p:sp>
      <p:sp>
        <p:nvSpPr>
          <p:cNvPr id="4" name="Inhaltsplatzhalter 4">
            <a:extLst>
              <a:ext uri="{FF2B5EF4-FFF2-40B4-BE49-F238E27FC236}">
                <a16:creationId xmlns:a16="http://schemas.microsoft.com/office/drawing/2014/main" id="{632464B6-DAF5-FF18-156F-DC6C125AAA87}"/>
              </a:ext>
            </a:extLst>
          </p:cNvPr>
          <p:cNvSpPr txBox="1">
            <a:spLocks/>
          </p:cNvSpPr>
          <p:nvPr/>
        </p:nvSpPr>
        <p:spPr>
          <a:xfrm>
            <a:off x="1478159" y="5372695"/>
            <a:ext cx="4971600" cy="954107"/>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2000">
                <a:solidFill>
                  <a:schemeClr val="accent2"/>
                </a:solidFill>
                <a:latin typeface="+mj-lt"/>
              </a:rPr>
              <a:t>Carbon &amp; Energy Optimize (coming)</a:t>
            </a:r>
            <a:br>
              <a:rPr lang="en-US" sz="1100">
                <a:solidFill>
                  <a:schemeClr val="accent1"/>
                </a:solidFill>
                <a:latin typeface="+mn-lt"/>
              </a:rPr>
            </a:br>
            <a:r>
              <a:rPr lang="en-US" sz="1400" i="1" kern="100">
                <a:solidFill>
                  <a:schemeClr val="tx1"/>
                </a:solidFill>
                <a:latin typeface="Arial" panose="020B0604020202020204" pitchFamily="34" charset="0"/>
                <a:cs typeface="Times New Roman" panose="02020603050405020304" pitchFamily="18" charset="0"/>
              </a:rPr>
              <a:t>Applies advanced controls capabilities, artificial intelligence  (AI) and machine learning (ML) algorithms to optimize energy intensive assets.  </a:t>
            </a:r>
            <a:endParaRPr lang="en-US" sz="1400" i="1" kern="100">
              <a:solidFill>
                <a:schemeClr val="tx1"/>
              </a:solidFill>
              <a:latin typeface="Arial" panose="020B0604020202020204" pitchFamily="34" charset="0"/>
              <a:ea typeface="Aptos" panose="020B0004020202020204" pitchFamily="34" charset="0"/>
              <a:cs typeface="Times New Roman" panose="02020603050405020304" pitchFamily="18" charset="0"/>
            </a:endParaRPr>
          </a:p>
        </p:txBody>
      </p:sp>
      <p:sp>
        <p:nvSpPr>
          <p:cNvPr id="5" name="Oval 4">
            <a:extLst>
              <a:ext uri="{FF2B5EF4-FFF2-40B4-BE49-F238E27FC236}">
                <a16:creationId xmlns:a16="http://schemas.microsoft.com/office/drawing/2014/main" id="{502DF519-8429-4595-22C0-E129A61C444C}"/>
              </a:ext>
            </a:extLst>
          </p:cNvPr>
          <p:cNvSpPr/>
          <p:nvPr/>
        </p:nvSpPr>
        <p:spPr>
          <a:xfrm rot="5400000">
            <a:off x="434841" y="1403609"/>
            <a:ext cx="722195" cy="7222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7" name="Oval 6">
            <a:extLst>
              <a:ext uri="{FF2B5EF4-FFF2-40B4-BE49-F238E27FC236}">
                <a16:creationId xmlns:a16="http://schemas.microsoft.com/office/drawing/2014/main" id="{860CE1CB-FDCD-6650-DB03-2F957A4579B6}"/>
              </a:ext>
            </a:extLst>
          </p:cNvPr>
          <p:cNvSpPr/>
          <p:nvPr/>
        </p:nvSpPr>
        <p:spPr>
          <a:xfrm rot="5400000">
            <a:off x="434841" y="2614886"/>
            <a:ext cx="722195" cy="7222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8" name="Oval 7">
            <a:extLst>
              <a:ext uri="{FF2B5EF4-FFF2-40B4-BE49-F238E27FC236}">
                <a16:creationId xmlns:a16="http://schemas.microsoft.com/office/drawing/2014/main" id="{FF31BB02-479F-9E0C-5032-9ADD6F0194F0}"/>
              </a:ext>
            </a:extLst>
          </p:cNvPr>
          <p:cNvSpPr/>
          <p:nvPr/>
        </p:nvSpPr>
        <p:spPr>
          <a:xfrm rot="5400000">
            <a:off x="435126" y="3978563"/>
            <a:ext cx="722195" cy="7222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pic>
        <p:nvPicPr>
          <p:cNvPr id="9" name="Graphic 8" descr="Checkmark with solid fill">
            <a:extLst>
              <a:ext uri="{FF2B5EF4-FFF2-40B4-BE49-F238E27FC236}">
                <a16:creationId xmlns:a16="http://schemas.microsoft.com/office/drawing/2014/main" id="{6A1F6D6D-D159-765C-F089-6C0B9034C2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4969" y="1534602"/>
            <a:ext cx="520846" cy="520846"/>
          </a:xfrm>
          <a:prstGeom prst="rect">
            <a:avLst/>
          </a:prstGeom>
        </p:spPr>
      </p:pic>
      <p:pic>
        <p:nvPicPr>
          <p:cNvPr id="17" name="Graphic 16" descr="Checkmark with solid fill">
            <a:extLst>
              <a:ext uri="{FF2B5EF4-FFF2-40B4-BE49-F238E27FC236}">
                <a16:creationId xmlns:a16="http://schemas.microsoft.com/office/drawing/2014/main" id="{3D4A70C3-44AE-5364-4B62-5ABDF9F7CA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249" y="2715096"/>
            <a:ext cx="520846" cy="520846"/>
          </a:xfrm>
          <a:prstGeom prst="rect">
            <a:avLst/>
          </a:prstGeom>
        </p:spPr>
      </p:pic>
      <p:pic>
        <p:nvPicPr>
          <p:cNvPr id="18" name="Graphic 17" descr="Checkmark with solid fill">
            <a:extLst>
              <a:ext uri="{FF2B5EF4-FFF2-40B4-BE49-F238E27FC236}">
                <a16:creationId xmlns:a16="http://schemas.microsoft.com/office/drawing/2014/main" id="{F4CD14C3-5372-C41E-AC34-CAEC622D7C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534" y="4098454"/>
            <a:ext cx="520846" cy="520846"/>
          </a:xfrm>
          <a:prstGeom prst="rect">
            <a:avLst/>
          </a:prstGeom>
        </p:spPr>
      </p:pic>
      <p:sp>
        <p:nvSpPr>
          <p:cNvPr id="19" name="Oval 18">
            <a:extLst>
              <a:ext uri="{FF2B5EF4-FFF2-40B4-BE49-F238E27FC236}">
                <a16:creationId xmlns:a16="http://schemas.microsoft.com/office/drawing/2014/main" id="{AB05F331-DC0B-925B-7B54-979BEE171F6B}"/>
              </a:ext>
            </a:extLst>
          </p:cNvPr>
          <p:cNvSpPr/>
          <p:nvPr/>
        </p:nvSpPr>
        <p:spPr>
          <a:xfrm rot="5400000">
            <a:off x="418574" y="5337463"/>
            <a:ext cx="722195" cy="7222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pic>
        <p:nvPicPr>
          <p:cNvPr id="20" name="Graphic 19" descr="Checkmark with solid fill">
            <a:extLst>
              <a:ext uri="{FF2B5EF4-FFF2-40B4-BE49-F238E27FC236}">
                <a16:creationId xmlns:a16="http://schemas.microsoft.com/office/drawing/2014/main" id="{3EFB6298-C558-65A5-ABF2-B7F5E7D141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5982" y="5457354"/>
            <a:ext cx="520846" cy="520846"/>
          </a:xfrm>
          <a:prstGeom prst="rect">
            <a:avLst/>
          </a:prstGeom>
        </p:spPr>
      </p:pic>
      <p:pic>
        <p:nvPicPr>
          <p:cNvPr id="11" name="Picture 10" descr="A black background with white text&#10;&#10;AI-generated content may be incorrect.">
            <a:extLst>
              <a:ext uri="{FF2B5EF4-FFF2-40B4-BE49-F238E27FC236}">
                <a16:creationId xmlns:a16="http://schemas.microsoft.com/office/drawing/2014/main" id="{FE888CF5-62DE-E564-246C-B6879D50B70B}"/>
              </a:ext>
            </a:extLst>
          </p:cNvPr>
          <p:cNvPicPr>
            <a:picLocks noChangeAspect="1"/>
          </p:cNvPicPr>
          <p:nvPr/>
        </p:nvPicPr>
        <p:blipFill>
          <a:blip r:embed="rId7"/>
          <a:stretch>
            <a:fillRect/>
          </a:stretch>
        </p:blipFill>
        <p:spPr>
          <a:xfrm>
            <a:off x="10243709" y="5566988"/>
            <a:ext cx="1533525" cy="895350"/>
          </a:xfrm>
          <a:prstGeom prst="rect">
            <a:avLst/>
          </a:prstGeom>
        </p:spPr>
      </p:pic>
    </p:spTree>
    <p:extLst>
      <p:ext uri="{BB962C8B-B14F-4D97-AF65-F5344CB8AC3E}">
        <p14:creationId xmlns:p14="http://schemas.microsoft.com/office/powerpoint/2010/main" val="2644650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12000" decel="88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accel="12000" decel="8800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ppt_x"/>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accel="12000" decel="8800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accel="12000" decel="8800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par>
                          <p:cTn id="21" fill="hold">
                            <p:stCondLst>
                              <p:cond delay="500"/>
                            </p:stCondLst>
                            <p:childTnLst>
                              <p:par>
                                <p:cTn id="22" presetID="45"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anim calcmode="lin" valueType="num">
                                      <p:cBhvr>
                                        <p:cTn id="25" dur="750" fill="hold"/>
                                        <p:tgtEl>
                                          <p:spTgt spid="5"/>
                                        </p:tgtEl>
                                        <p:attrNameLst>
                                          <p:attrName>ppt_w</p:attrName>
                                        </p:attrNameLst>
                                      </p:cBhvr>
                                      <p:tavLst>
                                        <p:tav tm="0" fmla="#ppt_w*sin(2.5*pi*$)">
                                          <p:val>
                                            <p:fltVal val="0"/>
                                          </p:val>
                                        </p:tav>
                                        <p:tav tm="100000">
                                          <p:val>
                                            <p:fltVal val="1"/>
                                          </p:val>
                                        </p:tav>
                                      </p:tavLst>
                                    </p:anim>
                                    <p:anim calcmode="lin" valueType="num">
                                      <p:cBhvr>
                                        <p:cTn id="26" dur="750" fill="hold"/>
                                        <p:tgtEl>
                                          <p:spTgt spid="5"/>
                                        </p:tgtEl>
                                        <p:attrNameLst>
                                          <p:attrName>ppt_h</p:attrName>
                                        </p:attrNameLst>
                                      </p:cBhvr>
                                      <p:tavLst>
                                        <p:tav tm="0">
                                          <p:val>
                                            <p:strVal val="#ppt_h"/>
                                          </p:val>
                                        </p:tav>
                                        <p:tav tm="100000">
                                          <p:val>
                                            <p:strVal val="#ppt_h"/>
                                          </p:val>
                                        </p:tav>
                                      </p:tavLst>
                                    </p:anim>
                                  </p:childTnLst>
                                </p:cTn>
                              </p:par>
                            </p:childTnLst>
                          </p:cTn>
                        </p:par>
                        <p:par>
                          <p:cTn id="27" fill="hold">
                            <p:stCondLst>
                              <p:cond delay="1250"/>
                            </p:stCondLst>
                            <p:childTnLst>
                              <p:par>
                                <p:cTn id="28" presetID="45" presetClass="entr" presetSubtype="0" fill="hold" grpId="0"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750"/>
                                        <p:tgtEl>
                                          <p:spTgt spid="7"/>
                                        </p:tgtEl>
                                      </p:cBhvr>
                                    </p:animEffect>
                                    <p:anim calcmode="lin" valueType="num">
                                      <p:cBhvr>
                                        <p:cTn id="31" dur="750" fill="hold"/>
                                        <p:tgtEl>
                                          <p:spTgt spid="7"/>
                                        </p:tgtEl>
                                        <p:attrNameLst>
                                          <p:attrName>ppt_w</p:attrName>
                                        </p:attrNameLst>
                                      </p:cBhvr>
                                      <p:tavLst>
                                        <p:tav tm="0" fmla="#ppt_w*sin(2.5*pi*$)">
                                          <p:val>
                                            <p:fltVal val="0"/>
                                          </p:val>
                                        </p:tav>
                                        <p:tav tm="100000">
                                          <p:val>
                                            <p:fltVal val="1"/>
                                          </p:val>
                                        </p:tav>
                                      </p:tavLst>
                                    </p:anim>
                                    <p:anim calcmode="lin" valueType="num">
                                      <p:cBhvr>
                                        <p:cTn id="32" dur="750" fill="hold"/>
                                        <p:tgtEl>
                                          <p:spTgt spid="7"/>
                                        </p:tgtEl>
                                        <p:attrNameLst>
                                          <p:attrName>ppt_h</p:attrName>
                                        </p:attrNameLst>
                                      </p:cBhvr>
                                      <p:tavLst>
                                        <p:tav tm="0">
                                          <p:val>
                                            <p:strVal val="#ppt_h"/>
                                          </p:val>
                                        </p:tav>
                                        <p:tav tm="100000">
                                          <p:val>
                                            <p:strVal val="#ppt_h"/>
                                          </p:val>
                                        </p:tav>
                                      </p:tavLst>
                                    </p:anim>
                                  </p:childTnLst>
                                </p:cTn>
                              </p:par>
                            </p:childTnLst>
                          </p:cTn>
                        </p:par>
                        <p:par>
                          <p:cTn id="33" fill="hold">
                            <p:stCondLst>
                              <p:cond delay="2000"/>
                            </p:stCondLst>
                            <p:childTnLst>
                              <p:par>
                                <p:cTn id="34" presetID="45" presetClass="entr" presetSubtype="0" fill="hold" grpId="0" nodeType="after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750"/>
                                        <p:tgtEl>
                                          <p:spTgt spid="8"/>
                                        </p:tgtEl>
                                      </p:cBhvr>
                                    </p:animEffect>
                                    <p:anim calcmode="lin" valueType="num">
                                      <p:cBhvr>
                                        <p:cTn id="37" dur="750" fill="hold"/>
                                        <p:tgtEl>
                                          <p:spTgt spid="8"/>
                                        </p:tgtEl>
                                        <p:attrNameLst>
                                          <p:attrName>ppt_w</p:attrName>
                                        </p:attrNameLst>
                                      </p:cBhvr>
                                      <p:tavLst>
                                        <p:tav tm="0" fmla="#ppt_w*sin(2.5*pi*$)">
                                          <p:val>
                                            <p:fltVal val="0"/>
                                          </p:val>
                                        </p:tav>
                                        <p:tav tm="100000">
                                          <p:val>
                                            <p:fltVal val="1"/>
                                          </p:val>
                                        </p:tav>
                                      </p:tavLst>
                                    </p:anim>
                                    <p:anim calcmode="lin" valueType="num">
                                      <p:cBhvr>
                                        <p:cTn id="38" dur="750" fill="hold"/>
                                        <p:tgtEl>
                                          <p:spTgt spid="8"/>
                                        </p:tgtEl>
                                        <p:attrNameLst>
                                          <p:attrName>ppt_h</p:attrName>
                                        </p:attrNameLst>
                                      </p:cBhvr>
                                      <p:tavLst>
                                        <p:tav tm="0">
                                          <p:val>
                                            <p:strVal val="#ppt_h"/>
                                          </p:val>
                                        </p:tav>
                                        <p:tav tm="100000">
                                          <p:val>
                                            <p:strVal val="#ppt_h"/>
                                          </p:val>
                                        </p:tav>
                                      </p:tavLst>
                                    </p:anim>
                                  </p:childTnLst>
                                </p:cTn>
                              </p:par>
                            </p:childTnLst>
                          </p:cTn>
                        </p:par>
                        <p:par>
                          <p:cTn id="39" fill="hold">
                            <p:stCondLst>
                              <p:cond delay="2750"/>
                            </p:stCondLst>
                            <p:childTnLst>
                              <p:par>
                                <p:cTn id="40" presetID="45" presetClass="entr" presetSubtype="0" fill="hold" grpId="0" nodeType="after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750"/>
                                        <p:tgtEl>
                                          <p:spTgt spid="19"/>
                                        </p:tgtEl>
                                      </p:cBhvr>
                                    </p:animEffect>
                                    <p:anim calcmode="lin" valueType="num">
                                      <p:cBhvr>
                                        <p:cTn id="43" dur="750" fill="hold"/>
                                        <p:tgtEl>
                                          <p:spTgt spid="19"/>
                                        </p:tgtEl>
                                        <p:attrNameLst>
                                          <p:attrName>ppt_w</p:attrName>
                                        </p:attrNameLst>
                                      </p:cBhvr>
                                      <p:tavLst>
                                        <p:tav tm="0" fmla="#ppt_w*sin(2.5*pi*$)">
                                          <p:val>
                                            <p:fltVal val="0"/>
                                          </p:val>
                                        </p:tav>
                                        <p:tav tm="100000">
                                          <p:val>
                                            <p:fltVal val="1"/>
                                          </p:val>
                                        </p:tav>
                                      </p:tavLst>
                                    </p:anim>
                                    <p:anim calcmode="lin" valueType="num">
                                      <p:cBhvr>
                                        <p:cTn id="44" dur="750" fill="hold"/>
                                        <p:tgtEl>
                                          <p:spTgt spid="1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5" grpId="0"/>
      <p:bldP spid="4" grpId="0"/>
      <p:bldP spid="5" grpId="0" animBg="1"/>
      <p:bldP spid="7" grpId="0" animBg="1"/>
      <p:bldP spid="8" grpId="0" animBg="1"/>
      <p:bldP spid="1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B999B3-0E47-8B43-6AF1-00C11553144F}"/>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AE390FC4-B74F-1C6F-65B7-814647297C12}"/>
              </a:ext>
            </a:extLst>
          </p:cNvPr>
          <p:cNvSpPr>
            <a:spLocks noGrp="1"/>
          </p:cNvSpPr>
          <p:nvPr>
            <p:ph type="body" sz="quarter" idx="15"/>
          </p:nvPr>
        </p:nvSpPr>
        <p:spPr>
          <a:xfrm>
            <a:off x="649288" y="1990724"/>
            <a:ext cx="9923462" cy="2886076"/>
          </a:xfrm>
        </p:spPr>
        <p:txBody>
          <a:bodyPr/>
          <a:lstStyle/>
          <a:p>
            <a:r>
              <a:rPr lang="en-US"/>
              <a:t>DEMO SESSION</a:t>
            </a:r>
          </a:p>
        </p:txBody>
      </p:sp>
      <p:sp>
        <p:nvSpPr>
          <p:cNvPr id="2" name="BJPseudoFooter">
            <a:extLst>
              <a:ext uri="{FF2B5EF4-FFF2-40B4-BE49-F238E27FC236}">
                <a16:creationId xmlns:a16="http://schemas.microsoft.com/office/drawing/2014/main" id="{EC470869-DD80-9BDA-20D7-404306452DCD}"/>
              </a:ext>
            </a:extLst>
          </p:cNvPr>
          <p:cNvSpPr txBox="1"/>
          <p:nvPr>
            <p:custDataLst>
              <p:tags r:id="rId1"/>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18663203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BE40C-1C41-CE5B-E4D8-F3952F74CE1A}"/>
            </a:ext>
          </a:extLst>
        </p:cNvPr>
        <p:cNvGrpSpPr/>
        <p:nvPr/>
      </p:nvGrpSpPr>
      <p:grpSpPr>
        <a:xfrm>
          <a:off x="0" y="0"/>
          <a:ext cx="0" cy="0"/>
          <a:chOff x="0" y="0"/>
          <a:chExt cx="0" cy="0"/>
        </a:xfrm>
      </p:grpSpPr>
      <p:pic>
        <p:nvPicPr>
          <p:cNvPr id="8" name="Picture Placeholder 9">
            <a:extLst>
              <a:ext uri="{FF2B5EF4-FFF2-40B4-BE49-F238E27FC236}">
                <a16:creationId xmlns:a16="http://schemas.microsoft.com/office/drawing/2014/main" id="{C9020EAC-EFAD-A503-CA94-70FCED7CB822}"/>
              </a:ext>
            </a:extLst>
          </p:cNvPr>
          <p:cNvPicPr>
            <a:picLocks noChangeAspect="1"/>
          </p:cNvPicPr>
          <p:nvPr/>
        </p:nvPicPr>
        <p:blipFill>
          <a:blip r:embed="rId3"/>
          <a:srcRect l="636" r="636"/>
          <a:stretch/>
        </p:blipFill>
        <p:spPr>
          <a:xfrm>
            <a:off x="0" y="0"/>
            <a:ext cx="12192000" cy="6921500"/>
          </a:xfrm>
          <a:prstGeom prst="rect">
            <a:avLst/>
          </a:prstGeom>
        </p:spPr>
      </p:pic>
      <p:pic>
        <p:nvPicPr>
          <p:cNvPr id="10" name="Picture Placeholder 9">
            <a:extLst>
              <a:ext uri="{FF2B5EF4-FFF2-40B4-BE49-F238E27FC236}">
                <a16:creationId xmlns:a16="http://schemas.microsoft.com/office/drawing/2014/main" id="{62D3585A-F602-37DD-96F0-6B17DD4A8CD6}"/>
              </a:ext>
            </a:extLst>
          </p:cNvPr>
          <p:cNvPicPr>
            <a:picLocks noChangeAspect="1"/>
          </p:cNvPicPr>
          <p:nvPr/>
        </p:nvPicPr>
        <p:blipFill>
          <a:blip r:embed="rId4">
            <a:alphaModFix amt="15000"/>
          </a:blip>
          <a:srcRect l="636" r="636"/>
          <a:stretch/>
        </p:blipFill>
        <p:spPr>
          <a:xfrm>
            <a:off x="1" y="-6351"/>
            <a:ext cx="12192000" cy="6921500"/>
          </a:xfrm>
          <a:prstGeom prst="rect">
            <a:avLst/>
          </a:prstGeom>
        </p:spPr>
      </p:pic>
      <p:sp>
        <p:nvSpPr>
          <p:cNvPr id="9" name="Rectangle 8">
            <a:extLst>
              <a:ext uri="{FF2B5EF4-FFF2-40B4-BE49-F238E27FC236}">
                <a16:creationId xmlns:a16="http://schemas.microsoft.com/office/drawing/2014/main" id="{64C7ED56-93E8-2C82-0968-AF2258D31AF8}"/>
              </a:ext>
            </a:extLst>
          </p:cNvPr>
          <p:cNvSpPr/>
          <p:nvPr/>
        </p:nvSpPr>
        <p:spPr>
          <a:xfrm rot="16200000" flipH="1">
            <a:off x="877096" y="-883445"/>
            <a:ext cx="6934200" cy="8688389"/>
          </a:xfrm>
          <a:prstGeom prst="rect">
            <a:avLst/>
          </a:prstGeom>
          <a:gradFill flip="none" rotWithShape="1">
            <a:gsLst>
              <a:gs pos="14000">
                <a:schemeClr val="tx1"/>
              </a:gs>
              <a:gs pos="84000">
                <a:schemeClr val="bg1">
                  <a:alpha val="0"/>
                  <a:lumMod val="91934"/>
                </a:schemeClr>
              </a:gs>
            </a:gsLst>
            <a:lin ang="4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945B5ABB-D926-6343-9F75-776805A139A4}"/>
              </a:ext>
            </a:extLst>
          </p:cNvPr>
          <p:cNvSpPr>
            <a:spLocks noGrp="1"/>
          </p:cNvSpPr>
          <p:nvPr>
            <p:ph type="ctrTitle"/>
          </p:nvPr>
        </p:nvSpPr>
        <p:spPr>
          <a:xfrm>
            <a:off x="495300" y="1181100"/>
            <a:ext cx="7906134" cy="2247900"/>
          </a:xfrm>
        </p:spPr>
        <p:txBody>
          <a:bodyPr/>
          <a:lstStyle/>
          <a:p>
            <a:r>
              <a:rPr lang="en-US" sz="4800">
                <a:solidFill>
                  <a:srgbClr val="D22630"/>
                </a:solidFill>
              </a:rPr>
              <a:t>MARKETING</a:t>
            </a:r>
            <a:br>
              <a:rPr lang="en-US" sz="4800">
                <a:solidFill>
                  <a:srgbClr val="D22630"/>
                </a:solidFill>
              </a:rPr>
            </a:br>
            <a:r>
              <a:rPr lang="en-US" sz="4800"/>
              <a:t>SUPPORT</a:t>
            </a:r>
            <a:endParaRPr lang="en-US" sz="4400"/>
          </a:p>
        </p:txBody>
      </p:sp>
      <p:sp>
        <p:nvSpPr>
          <p:cNvPr id="5" name="Date Placeholder 3">
            <a:extLst>
              <a:ext uri="{FF2B5EF4-FFF2-40B4-BE49-F238E27FC236}">
                <a16:creationId xmlns:a16="http://schemas.microsoft.com/office/drawing/2014/main" id="{A3433D86-CD94-94AE-2B21-5580963FA29F}"/>
              </a:ext>
            </a:extLst>
          </p:cNvPr>
          <p:cNvSpPr txBox="1">
            <a:spLocks/>
          </p:cNvSpPr>
          <p:nvPr/>
        </p:nvSpPr>
        <p:spPr>
          <a:xfrm>
            <a:off x="495300" y="381000"/>
            <a:ext cx="2743200" cy="365125"/>
          </a:xfrm>
          <a:prstGeom prst="rect">
            <a:avLst/>
          </a:prstGeom>
        </p:spPr>
        <p:txBody>
          <a:bodyPr lIns="0" tIns="0" rIns="0" bIns="0" anchor="t"/>
          <a:lstStyle>
            <a:defPPr>
              <a:defRPr lang="en-US"/>
            </a:defPPr>
            <a:lvl1pPr marL="0" algn="l" defTabSz="914400" rtl="0" eaLnBrk="1" latinLnBrk="0" hangingPunct="1">
              <a:defRPr sz="14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fld id="{6E9E0F49-E339-4A0F-96CE-2C85F425F22F}" type="datetime4">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80000"/>
                </a:lnSpc>
                <a:spcBef>
                  <a:spcPts val="0"/>
                </a:spcBef>
                <a:spcAft>
                  <a:spcPts val="0"/>
                </a:spcAft>
                <a:buClrTx/>
                <a:buSzTx/>
                <a:buFontTx/>
                <a:buNone/>
                <a:tabLst/>
                <a:defRPr/>
              </a:pPr>
              <a:t>June 27, 202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AC9E7DA3-B535-B670-FEC7-DA934193528A}"/>
              </a:ext>
            </a:extLst>
          </p:cNvPr>
          <p:cNvSpPr txBox="1"/>
          <p:nvPr/>
        </p:nvSpPr>
        <p:spPr>
          <a:xfrm>
            <a:off x="5735117" y="277978"/>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Arial"/>
              <a:ea typeface="+mn-ea"/>
              <a:cs typeface="+mn-cs"/>
            </a:endParaRPr>
          </a:p>
        </p:txBody>
      </p:sp>
      <p:pic>
        <p:nvPicPr>
          <p:cNvPr id="12" name="Picture 11" descr="A red text on a black background&#10;&#10;Description automatically generated">
            <a:extLst>
              <a:ext uri="{FF2B5EF4-FFF2-40B4-BE49-F238E27FC236}">
                <a16:creationId xmlns:a16="http://schemas.microsoft.com/office/drawing/2014/main" id="{840A4BA1-210B-CDF5-3136-DD3FC5B1058C}"/>
              </a:ext>
            </a:extLst>
          </p:cNvPr>
          <p:cNvPicPr>
            <a:picLocks noChangeAspect="1"/>
          </p:cNvPicPr>
          <p:nvPr/>
        </p:nvPicPr>
        <p:blipFill>
          <a:blip r:embed="rId5"/>
          <a:srcRect t="31078" b="31408"/>
          <a:stretch/>
        </p:blipFill>
        <p:spPr>
          <a:xfrm>
            <a:off x="495300" y="6161314"/>
            <a:ext cx="1970314" cy="415773"/>
          </a:xfrm>
          <a:prstGeom prst="rect">
            <a:avLst/>
          </a:prstGeom>
        </p:spPr>
      </p:pic>
      <p:pic>
        <p:nvPicPr>
          <p:cNvPr id="3" name="Picture 2" descr="A black background with white text&#10;&#10;AI-generated content may be incorrect.">
            <a:extLst>
              <a:ext uri="{FF2B5EF4-FFF2-40B4-BE49-F238E27FC236}">
                <a16:creationId xmlns:a16="http://schemas.microsoft.com/office/drawing/2014/main" id="{55717AD7-EED3-C0DA-C2E9-D7410A6D339D}"/>
              </a:ext>
            </a:extLst>
          </p:cNvPr>
          <p:cNvPicPr>
            <a:picLocks noChangeAspect="1"/>
          </p:cNvPicPr>
          <p:nvPr/>
        </p:nvPicPr>
        <p:blipFill>
          <a:blip r:embed="rId6"/>
          <a:stretch>
            <a:fillRect/>
          </a:stretch>
        </p:blipFill>
        <p:spPr>
          <a:xfrm>
            <a:off x="10243709" y="5566988"/>
            <a:ext cx="1533525" cy="895350"/>
          </a:xfrm>
          <a:prstGeom prst="rect">
            <a:avLst/>
          </a:prstGeom>
        </p:spPr>
      </p:pic>
    </p:spTree>
    <p:extLst>
      <p:ext uri="{BB962C8B-B14F-4D97-AF65-F5344CB8AC3E}">
        <p14:creationId xmlns:p14="http://schemas.microsoft.com/office/powerpoint/2010/main" val="85143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22A021-F7C5-4AD4-787B-018DD5BBD614}"/>
              </a:ext>
            </a:extLst>
          </p:cNvPr>
          <p:cNvSpPr>
            <a:spLocks noGrp="1"/>
          </p:cNvSpPr>
          <p:nvPr>
            <p:ph type="sldNum" sz="quarter" idx="12"/>
          </p:nvPr>
        </p:nvSpPr>
        <p:spPr/>
        <p:txBody>
          <a:bodyPr/>
          <a:lstStyle/>
          <a:p>
            <a:fld id="{7B94EC18-1D2B-4535-B738-0E53AFE26620}" type="slidenum">
              <a:rPr lang="en-US" smtClean="0"/>
              <a:t>18</a:t>
            </a:fld>
            <a:endParaRPr lang="en-US"/>
          </a:p>
        </p:txBody>
      </p:sp>
      <p:sp>
        <p:nvSpPr>
          <p:cNvPr id="5" name="Text Placeholder 4">
            <a:extLst>
              <a:ext uri="{FF2B5EF4-FFF2-40B4-BE49-F238E27FC236}">
                <a16:creationId xmlns:a16="http://schemas.microsoft.com/office/drawing/2014/main" id="{5438D962-2998-E93A-DA32-48490495C2C3}"/>
              </a:ext>
            </a:extLst>
          </p:cNvPr>
          <p:cNvSpPr>
            <a:spLocks noGrp="1"/>
          </p:cNvSpPr>
          <p:nvPr>
            <p:ph type="body" sz="quarter" idx="16"/>
          </p:nvPr>
        </p:nvSpPr>
        <p:spPr>
          <a:xfrm>
            <a:off x="-78105" y="6052062"/>
            <a:ext cx="12336780" cy="374904"/>
          </a:xfrm>
        </p:spPr>
        <p:txBody>
          <a:bodyPr/>
          <a:lstStyle/>
          <a:p>
            <a:r>
              <a:rPr lang="en-GB"/>
              <a:t>‘BUZZ’ OF CONNECTIVITY CONSISTANT IDENTITY</a:t>
            </a:r>
          </a:p>
        </p:txBody>
      </p:sp>
      <p:sp>
        <p:nvSpPr>
          <p:cNvPr id="6" name="Title 5">
            <a:extLst>
              <a:ext uri="{FF2B5EF4-FFF2-40B4-BE49-F238E27FC236}">
                <a16:creationId xmlns:a16="http://schemas.microsoft.com/office/drawing/2014/main" id="{60BEA37D-1C32-2EC5-94D4-B0DA82439F19}"/>
              </a:ext>
            </a:extLst>
          </p:cNvPr>
          <p:cNvSpPr>
            <a:spLocks noGrp="1"/>
          </p:cNvSpPr>
          <p:nvPr>
            <p:ph type="title"/>
          </p:nvPr>
        </p:nvSpPr>
        <p:spPr>
          <a:xfrm>
            <a:off x="382067" y="430544"/>
            <a:ext cx="11446494" cy="353174"/>
          </a:xfrm>
        </p:spPr>
        <p:txBody>
          <a:bodyPr/>
          <a:lstStyle/>
          <a:p>
            <a:r>
              <a:rPr lang="en-US" sz="2800"/>
              <a:t>CONNECTED IDENTITY</a:t>
            </a:r>
          </a:p>
        </p:txBody>
      </p:sp>
      <p:sp>
        <p:nvSpPr>
          <p:cNvPr id="7" name="Rectangle 6">
            <a:extLst>
              <a:ext uri="{FF2B5EF4-FFF2-40B4-BE49-F238E27FC236}">
                <a16:creationId xmlns:a16="http://schemas.microsoft.com/office/drawing/2014/main" id="{EB3E76A6-6FDA-E99E-BC6B-28759A61D08D}"/>
              </a:ext>
            </a:extLst>
          </p:cNvPr>
          <p:cNvSpPr/>
          <p:nvPr/>
        </p:nvSpPr>
        <p:spPr>
          <a:xfrm rot="5400000">
            <a:off x="60844" y="551993"/>
            <a:ext cx="36576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977CDDB9-74CE-74CC-1583-E5F501075B52}"/>
              </a:ext>
            </a:extLst>
          </p:cNvPr>
          <p:cNvPicPr>
            <a:picLocks noChangeAspect="1"/>
          </p:cNvPicPr>
          <p:nvPr/>
        </p:nvPicPr>
        <p:blipFill>
          <a:blip r:embed="rId2"/>
          <a:stretch>
            <a:fillRect/>
          </a:stretch>
        </p:blipFill>
        <p:spPr>
          <a:xfrm>
            <a:off x="331639" y="1230208"/>
            <a:ext cx="3795760" cy="2141109"/>
          </a:xfrm>
          <a:prstGeom prst="rect">
            <a:avLst/>
          </a:prstGeom>
          <a:ln>
            <a:no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973299FB-BCA4-8E49-E8AA-959795AFFB4A}"/>
              </a:ext>
            </a:extLst>
          </p:cNvPr>
          <p:cNvPicPr>
            <a:picLocks noChangeAspect="1"/>
          </p:cNvPicPr>
          <p:nvPr/>
        </p:nvPicPr>
        <p:blipFill>
          <a:blip r:embed="rId3"/>
          <a:stretch>
            <a:fillRect/>
          </a:stretch>
        </p:blipFill>
        <p:spPr>
          <a:xfrm>
            <a:off x="8710467" y="3947594"/>
            <a:ext cx="3096653" cy="2069056"/>
          </a:xfrm>
          <a:prstGeom prst="rect">
            <a:avLst/>
          </a:prstGeom>
          <a:effectLst/>
        </p:spPr>
      </p:pic>
      <p:pic>
        <p:nvPicPr>
          <p:cNvPr id="15" name="Picture 14">
            <a:extLst>
              <a:ext uri="{FF2B5EF4-FFF2-40B4-BE49-F238E27FC236}">
                <a16:creationId xmlns:a16="http://schemas.microsoft.com/office/drawing/2014/main" id="{DD76A2AD-6A63-FA0A-DB3A-60A3B025F574}"/>
              </a:ext>
            </a:extLst>
          </p:cNvPr>
          <p:cNvPicPr>
            <a:picLocks noChangeAspect="1"/>
          </p:cNvPicPr>
          <p:nvPr/>
        </p:nvPicPr>
        <p:blipFill>
          <a:blip r:embed="rId4"/>
          <a:stretch>
            <a:fillRect/>
          </a:stretch>
        </p:blipFill>
        <p:spPr>
          <a:xfrm>
            <a:off x="8708660" y="2515077"/>
            <a:ext cx="3109604" cy="1687275"/>
          </a:xfrm>
          <a:prstGeom prst="rect">
            <a:avLst/>
          </a:prstGeom>
          <a:effectLst/>
        </p:spPr>
      </p:pic>
      <p:sp>
        <p:nvSpPr>
          <p:cNvPr id="18" name="Text Placeholder 2">
            <a:extLst>
              <a:ext uri="{FF2B5EF4-FFF2-40B4-BE49-F238E27FC236}">
                <a16:creationId xmlns:a16="http://schemas.microsoft.com/office/drawing/2014/main" id="{08C27D17-FFCD-C6C1-D487-530A22F649AF}"/>
              </a:ext>
            </a:extLst>
          </p:cNvPr>
          <p:cNvSpPr txBox="1">
            <a:spLocks/>
          </p:cNvSpPr>
          <p:nvPr/>
        </p:nvSpPr>
        <p:spPr>
          <a:xfrm>
            <a:off x="8587913" y="517976"/>
            <a:ext cx="3162416" cy="254433"/>
          </a:xfrm>
          <a:prstGeom prst="rect">
            <a:avLst/>
          </a:prstGeom>
        </p:spPr>
        <p:txBody>
          <a:bodyPr vert="horz" lIns="91440" tIns="45720" rIns="91440" bIns="45720" rtlCol="0" anchor="t">
            <a:noAutofit/>
          </a:bodyPr>
          <a:lstStyle>
            <a:lvl1pPr marL="228600" marR="0" indent="-228600" algn="l" defTabSz="914400" rtl="0" eaLnBrk="1" fontAlgn="auto" latinLnBrk="0" hangingPunct="1">
              <a:lnSpc>
                <a:spcPts val="1690"/>
              </a:lnSpc>
              <a:spcBef>
                <a:spcPts val="1000"/>
              </a:spcBef>
              <a:spcAft>
                <a:spcPts val="0"/>
              </a:spcAft>
              <a:buClr>
                <a:srgbClr val="EE4983"/>
              </a:buClr>
              <a:buSzTx/>
              <a:buFont typeface="Arial" panose="020B0604020202020204" pitchFamily="34" charset="0"/>
              <a:buChar char="•"/>
              <a:tabLst/>
              <a:defRPr sz="1400" b="0" i="0"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6"/>
              </a:buClr>
              <a:buFont typeface="Arial" panose="020B0604020202020204" pitchFamily="34" charset="0"/>
              <a:buChar char="•"/>
              <a:defRPr sz="14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System Font Regular"/>
              <a:buChar char="-"/>
              <a:defRPr sz="12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1" i="0" kern="1200">
                <a:solidFill>
                  <a:schemeClr val="tx1"/>
                </a:solidFill>
                <a:latin typeface="Arial Black" panose="020B0604020202020204" pitchFamily="34" charset="0"/>
                <a:ea typeface="+mn-ea"/>
                <a:cs typeface="Arial Black"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n-US" sz="1200" b="1">
                <a:latin typeface="Arial"/>
                <a:cs typeface="Arial"/>
              </a:rPr>
              <a:t>GENERAL CONNECTED IMAGERY</a:t>
            </a:r>
            <a:endPar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pic>
        <p:nvPicPr>
          <p:cNvPr id="3" name="Picture 2" descr="A person in a suit looking at a city&#10;&#10;AI-generated content may be incorrect.">
            <a:extLst>
              <a:ext uri="{FF2B5EF4-FFF2-40B4-BE49-F238E27FC236}">
                <a16:creationId xmlns:a16="http://schemas.microsoft.com/office/drawing/2014/main" id="{419A95C0-9B19-5D7D-D4DD-13A534427573}"/>
              </a:ext>
            </a:extLst>
          </p:cNvPr>
          <p:cNvPicPr>
            <a:picLocks noChangeAspect="1"/>
          </p:cNvPicPr>
          <p:nvPr/>
        </p:nvPicPr>
        <p:blipFill>
          <a:blip r:embed="rId5"/>
          <a:stretch>
            <a:fillRect/>
          </a:stretch>
        </p:blipFill>
        <p:spPr>
          <a:xfrm>
            <a:off x="4220249" y="1245243"/>
            <a:ext cx="1552355" cy="2123836"/>
          </a:xfrm>
          <a:prstGeom prst="rect">
            <a:avLst/>
          </a:prstGeom>
          <a:effectLst>
            <a:outerShdw blurRad="50800" dist="38100" dir="2700000" algn="tl" rotWithShape="0">
              <a:prstClr val="black">
                <a:alpha val="40000"/>
              </a:prstClr>
            </a:outerShdw>
          </a:effectLst>
        </p:spPr>
      </p:pic>
      <p:pic>
        <p:nvPicPr>
          <p:cNvPr id="4" name="Picture 3" descr="A person in a suit&#10;&#10;AI-generated content may be incorrect.">
            <a:extLst>
              <a:ext uri="{FF2B5EF4-FFF2-40B4-BE49-F238E27FC236}">
                <a16:creationId xmlns:a16="http://schemas.microsoft.com/office/drawing/2014/main" id="{35D02DD1-9298-4975-AEC9-D879C94120E7}"/>
              </a:ext>
            </a:extLst>
          </p:cNvPr>
          <p:cNvPicPr>
            <a:picLocks noChangeAspect="1"/>
          </p:cNvPicPr>
          <p:nvPr/>
        </p:nvPicPr>
        <p:blipFill>
          <a:blip r:embed="rId6"/>
          <a:stretch>
            <a:fillRect/>
          </a:stretch>
        </p:blipFill>
        <p:spPr>
          <a:xfrm>
            <a:off x="265340" y="3483399"/>
            <a:ext cx="4834562" cy="2431111"/>
          </a:xfrm>
          <a:prstGeom prst="rect">
            <a:avLst/>
          </a:prstGeom>
        </p:spPr>
      </p:pic>
      <p:pic>
        <p:nvPicPr>
          <p:cNvPr id="8" name="Picture 7" descr="A person in a suit&#10;&#10;AI-generated content may be incorrect.">
            <a:extLst>
              <a:ext uri="{FF2B5EF4-FFF2-40B4-BE49-F238E27FC236}">
                <a16:creationId xmlns:a16="http://schemas.microsoft.com/office/drawing/2014/main" id="{8344B805-1BC8-2150-C8E8-EE10F845C9CE}"/>
              </a:ext>
            </a:extLst>
          </p:cNvPr>
          <p:cNvPicPr>
            <a:picLocks noChangeAspect="1"/>
          </p:cNvPicPr>
          <p:nvPr/>
        </p:nvPicPr>
        <p:blipFill>
          <a:blip r:embed="rId7"/>
          <a:stretch>
            <a:fillRect/>
          </a:stretch>
        </p:blipFill>
        <p:spPr>
          <a:xfrm>
            <a:off x="4768409" y="4108857"/>
            <a:ext cx="1055008" cy="1764532"/>
          </a:xfrm>
          <a:prstGeom prst="rect">
            <a:avLst/>
          </a:prstGeom>
        </p:spPr>
      </p:pic>
      <p:pic>
        <p:nvPicPr>
          <p:cNvPr id="12" name="Picture 11" descr="A group of people outside of a building&#10;&#10;AI-generated content may be incorrect.">
            <a:extLst>
              <a:ext uri="{FF2B5EF4-FFF2-40B4-BE49-F238E27FC236}">
                <a16:creationId xmlns:a16="http://schemas.microsoft.com/office/drawing/2014/main" id="{9FB78AE5-3E12-4D4C-BFC6-65CEF3DE7AC8}"/>
              </a:ext>
            </a:extLst>
          </p:cNvPr>
          <p:cNvPicPr>
            <a:picLocks noChangeAspect="1"/>
          </p:cNvPicPr>
          <p:nvPr/>
        </p:nvPicPr>
        <p:blipFill>
          <a:blip r:embed="rId8"/>
          <a:stretch>
            <a:fillRect/>
          </a:stretch>
        </p:blipFill>
        <p:spPr>
          <a:xfrm>
            <a:off x="8702184" y="838109"/>
            <a:ext cx="3109604" cy="1687275"/>
          </a:xfrm>
          <a:prstGeom prst="rect">
            <a:avLst/>
          </a:prstGeom>
        </p:spPr>
      </p:pic>
      <p:pic>
        <p:nvPicPr>
          <p:cNvPr id="14" name="Picture 13">
            <a:extLst>
              <a:ext uri="{FF2B5EF4-FFF2-40B4-BE49-F238E27FC236}">
                <a16:creationId xmlns:a16="http://schemas.microsoft.com/office/drawing/2014/main" id="{158BE1B8-4B87-DE97-F87A-457375DCFF2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48955" y="1230208"/>
            <a:ext cx="2304510" cy="4733588"/>
          </a:xfrm>
          <a:prstGeom prst="rect">
            <a:avLst/>
          </a:prstGeom>
        </p:spPr>
      </p:pic>
      <p:sp>
        <p:nvSpPr>
          <p:cNvPr id="16" name="Rectangle 15">
            <a:extLst>
              <a:ext uri="{FF2B5EF4-FFF2-40B4-BE49-F238E27FC236}">
                <a16:creationId xmlns:a16="http://schemas.microsoft.com/office/drawing/2014/main" id="{3B8407A0-8FBF-3A4F-1780-965077C98834}"/>
              </a:ext>
            </a:extLst>
          </p:cNvPr>
          <p:cNvSpPr/>
          <p:nvPr/>
        </p:nvSpPr>
        <p:spPr>
          <a:xfrm>
            <a:off x="8708660" y="2515077"/>
            <a:ext cx="3151701"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tx1"/>
              </a:solidFill>
            </a:endParaRPr>
          </a:p>
        </p:txBody>
      </p:sp>
      <p:sp>
        <p:nvSpPr>
          <p:cNvPr id="17" name="Rectangle 16">
            <a:extLst>
              <a:ext uri="{FF2B5EF4-FFF2-40B4-BE49-F238E27FC236}">
                <a16:creationId xmlns:a16="http://schemas.microsoft.com/office/drawing/2014/main" id="{78521B85-FD4A-935F-804B-D533BC523A89}"/>
              </a:ext>
            </a:extLst>
          </p:cNvPr>
          <p:cNvSpPr/>
          <p:nvPr/>
        </p:nvSpPr>
        <p:spPr>
          <a:xfrm>
            <a:off x="8701040" y="4187667"/>
            <a:ext cx="3151701"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tx1"/>
              </a:solidFill>
            </a:endParaRPr>
          </a:p>
        </p:txBody>
      </p:sp>
      <p:pic>
        <p:nvPicPr>
          <p:cNvPr id="20" name="Picture 19">
            <a:extLst>
              <a:ext uri="{FF2B5EF4-FFF2-40B4-BE49-F238E27FC236}">
                <a16:creationId xmlns:a16="http://schemas.microsoft.com/office/drawing/2014/main" id="{C6FFE373-979E-0C21-CCA5-4CDF2A52AC4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88058" y="4118284"/>
            <a:ext cx="1157088" cy="1842084"/>
          </a:xfrm>
          <a:prstGeom prst="rect">
            <a:avLst/>
          </a:prstGeom>
        </p:spPr>
      </p:pic>
      <p:sp>
        <p:nvSpPr>
          <p:cNvPr id="21" name="Text Placeholder 2">
            <a:extLst>
              <a:ext uri="{FF2B5EF4-FFF2-40B4-BE49-F238E27FC236}">
                <a16:creationId xmlns:a16="http://schemas.microsoft.com/office/drawing/2014/main" id="{8C0D5406-0F50-7222-2030-0FC75C106B59}"/>
              </a:ext>
            </a:extLst>
          </p:cNvPr>
          <p:cNvSpPr txBox="1">
            <a:spLocks/>
          </p:cNvSpPr>
          <p:nvPr/>
        </p:nvSpPr>
        <p:spPr>
          <a:xfrm>
            <a:off x="265339" y="908399"/>
            <a:ext cx="3162416" cy="254433"/>
          </a:xfrm>
          <a:prstGeom prst="rect">
            <a:avLst/>
          </a:prstGeom>
        </p:spPr>
        <p:txBody>
          <a:bodyPr vert="horz" lIns="91440" tIns="45720" rIns="91440" bIns="45720" rtlCol="0" anchor="t">
            <a:noAutofit/>
          </a:bodyPr>
          <a:lstStyle>
            <a:lvl1pPr marL="228600" marR="0" indent="-228600" algn="l" defTabSz="914400" rtl="0" eaLnBrk="1" fontAlgn="auto" latinLnBrk="0" hangingPunct="1">
              <a:lnSpc>
                <a:spcPts val="1690"/>
              </a:lnSpc>
              <a:spcBef>
                <a:spcPts val="1000"/>
              </a:spcBef>
              <a:spcAft>
                <a:spcPts val="0"/>
              </a:spcAft>
              <a:buClr>
                <a:srgbClr val="EE4983"/>
              </a:buClr>
              <a:buSzTx/>
              <a:buFont typeface="Arial" panose="020B0604020202020204" pitchFamily="34" charset="0"/>
              <a:buChar char="•"/>
              <a:tabLst/>
              <a:defRPr sz="1400" b="0" i="0"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6"/>
              </a:buClr>
              <a:buFont typeface="Arial" panose="020B0604020202020204" pitchFamily="34" charset="0"/>
              <a:buChar char="•"/>
              <a:defRPr sz="14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System Font Regular"/>
              <a:buChar char="-"/>
              <a:defRPr sz="12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1" i="0" kern="1200">
                <a:solidFill>
                  <a:schemeClr val="tx1"/>
                </a:solidFill>
                <a:latin typeface="Arial Black" panose="020B0604020202020204" pitchFamily="34" charset="0"/>
                <a:ea typeface="+mn-ea"/>
                <a:cs typeface="Arial Black"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kumimoji="0" lang="en-US" sz="1200" b="1" i="0" u="none" strike="noStrike" kern="1200" cap="none" spc="0" normalizeH="0" baseline="0" noProof="0">
                <a:ln>
                  <a:noFill/>
                </a:ln>
                <a:effectLst/>
                <a:uLnTx/>
                <a:uFillTx/>
                <a:latin typeface="Arial"/>
                <a:ea typeface="+mn-ea"/>
                <a:cs typeface="Arial"/>
              </a:rPr>
              <a:t>MARKETING </a:t>
            </a:r>
            <a:r>
              <a:rPr lang="en-US" sz="1200" b="1">
                <a:latin typeface="Arial"/>
                <a:cs typeface="Arial"/>
              </a:rPr>
              <a:t>CONTENT</a:t>
            </a:r>
            <a:endPar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9" name="Text Placeholder 2">
            <a:extLst>
              <a:ext uri="{FF2B5EF4-FFF2-40B4-BE49-F238E27FC236}">
                <a16:creationId xmlns:a16="http://schemas.microsoft.com/office/drawing/2014/main" id="{783C244D-A76B-AE26-3BDF-86BB469F40E2}"/>
              </a:ext>
            </a:extLst>
          </p:cNvPr>
          <p:cNvSpPr txBox="1">
            <a:spLocks/>
          </p:cNvSpPr>
          <p:nvPr/>
        </p:nvSpPr>
        <p:spPr>
          <a:xfrm>
            <a:off x="6007834" y="711218"/>
            <a:ext cx="3162416" cy="254433"/>
          </a:xfrm>
          <a:prstGeom prst="rect">
            <a:avLst/>
          </a:prstGeom>
        </p:spPr>
        <p:txBody>
          <a:bodyPr vert="horz" lIns="91440" tIns="45720" rIns="91440" bIns="45720" rtlCol="0" anchor="t">
            <a:noAutofit/>
          </a:bodyPr>
          <a:lstStyle>
            <a:lvl1pPr marL="228600" marR="0" indent="-228600" algn="l" defTabSz="914400" rtl="0" eaLnBrk="1" fontAlgn="auto" latinLnBrk="0" hangingPunct="1">
              <a:lnSpc>
                <a:spcPts val="1690"/>
              </a:lnSpc>
              <a:spcBef>
                <a:spcPts val="1000"/>
              </a:spcBef>
              <a:spcAft>
                <a:spcPts val="0"/>
              </a:spcAft>
              <a:buClr>
                <a:srgbClr val="EE4983"/>
              </a:buClr>
              <a:buSzTx/>
              <a:buFont typeface="Arial" panose="020B0604020202020204" pitchFamily="34" charset="0"/>
              <a:buChar char="•"/>
              <a:tabLst/>
              <a:defRPr sz="1400" b="0" i="0"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6"/>
              </a:buClr>
              <a:buFont typeface="Arial" panose="020B0604020202020204" pitchFamily="34" charset="0"/>
              <a:buChar char="•"/>
              <a:defRPr sz="14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System Font Regular"/>
              <a:buChar char="-"/>
              <a:defRPr sz="12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1" i="0" kern="1200">
                <a:solidFill>
                  <a:schemeClr val="tx1"/>
                </a:solidFill>
                <a:latin typeface="Arial Black" panose="020B0604020202020204" pitchFamily="34" charset="0"/>
                <a:ea typeface="+mn-ea"/>
                <a:cs typeface="Arial Black"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kumimoji="0" lang="en-US" sz="1200" b="1" i="0" u="none" strike="noStrike" kern="1200" cap="none" spc="0" normalizeH="0" baseline="0" noProof="0">
                <a:ln>
                  <a:noFill/>
                </a:ln>
                <a:effectLst/>
                <a:uLnTx/>
                <a:uFillTx/>
                <a:latin typeface="Arial"/>
                <a:ea typeface="+mn-ea"/>
                <a:cs typeface="Arial"/>
              </a:rPr>
              <a:t>BMS LANDING PAGE</a:t>
            </a:r>
            <a:endPar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13151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61DFCFE3-F841-D7E1-B8C8-701E47857DA2}"/>
              </a:ext>
            </a:extLst>
          </p:cNvPr>
          <p:cNvCxnSpPr/>
          <p:nvPr/>
        </p:nvCxnSpPr>
        <p:spPr>
          <a:xfrm>
            <a:off x="-188536" y="1064157"/>
            <a:ext cx="12754466" cy="0"/>
          </a:xfrm>
          <a:prstGeom prst="line">
            <a:avLst/>
          </a:prstGeom>
          <a:ln/>
        </p:spPr>
        <p:style>
          <a:lnRef idx="3">
            <a:schemeClr val="dk1"/>
          </a:lnRef>
          <a:fillRef idx="0">
            <a:schemeClr val="dk1"/>
          </a:fillRef>
          <a:effectRef idx="2">
            <a:schemeClr val="dk1"/>
          </a:effectRef>
          <a:fontRef idx="minor">
            <a:schemeClr val="tx1"/>
          </a:fontRef>
        </p:style>
      </p:cxnSp>
      <p:sp>
        <p:nvSpPr>
          <p:cNvPr id="104" name="Title 8"/>
          <p:cNvSpPr txBox="1">
            <a:spLocks/>
          </p:cNvSpPr>
          <p:nvPr/>
        </p:nvSpPr>
        <p:spPr>
          <a:xfrm>
            <a:off x="314324" y="359876"/>
            <a:ext cx="11696701"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Arial Black" panose="020B0A04020102020204" pitchFamily="34" charset="0"/>
                <a:ea typeface="+mj-ea"/>
                <a:cs typeface="+mj-cs"/>
              </a:defRPr>
            </a:lvl1pPr>
          </a:lstStyle>
          <a:p>
            <a:pPr>
              <a:defRPr/>
            </a:pPr>
            <a:r>
              <a:rPr lang="en-US" sz="2800">
                <a:solidFill>
                  <a:prstClr val="black"/>
                </a:solidFill>
                <a:latin typeface="Arial Black"/>
              </a:rPr>
              <a:t>Connected </a:t>
            </a:r>
            <a:r>
              <a:rPr lang="en-US" sz="2800">
                <a:solidFill>
                  <a:prstClr val="black"/>
                </a:solidFill>
                <a:latin typeface="Arial Black"/>
                <a:cs typeface="Arial"/>
              </a:rPr>
              <a:t>strategy </a:t>
            </a:r>
            <a:r>
              <a:rPr lang="en-US" sz="2800" err="1">
                <a:solidFill>
                  <a:prstClr val="black"/>
                </a:solidFill>
                <a:latin typeface="Arial Black"/>
                <a:cs typeface="Arial"/>
              </a:rPr>
              <a:t>bms</a:t>
            </a:r>
            <a:r>
              <a:rPr lang="en-US" sz="2800">
                <a:solidFill>
                  <a:prstClr val="black"/>
                </a:solidFill>
                <a:latin typeface="Arial Black"/>
                <a:cs typeface="Arial"/>
              </a:rPr>
              <a:t> LAUNCH material</a:t>
            </a:r>
            <a:endParaRPr kumimoji="0" lang="en-US" sz="2800" b="0" i="0" u="none" strike="noStrike" kern="1200" cap="all" spc="0" normalizeH="0" baseline="0" noProof="0">
              <a:ln>
                <a:noFill/>
              </a:ln>
              <a:solidFill>
                <a:srgbClr val="C00000"/>
              </a:solidFill>
              <a:effectLst/>
              <a:uLnTx/>
              <a:uFillTx/>
              <a:latin typeface="Arial Black"/>
            </a:endParaRPr>
          </a:p>
        </p:txBody>
      </p:sp>
      <p:sp>
        <p:nvSpPr>
          <p:cNvPr id="2" name="Rectangle 1"/>
          <p:cNvSpPr/>
          <p:nvPr/>
        </p:nvSpPr>
        <p:spPr>
          <a:xfrm>
            <a:off x="373093" y="1298403"/>
            <a:ext cx="5463145" cy="3016210"/>
          </a:xfrm>
          <a:prstGeom prst="rect">
            <a:avLst/>
          </a:prstGeom>
          <a:solidFill>
            <a:schemeClr val="bg1">
              <a:lumMod val="95000"/>
            </a:schemeClr>
          </a:solidFill>
          <a:ln>
            <a:solidFill>
              <a:schemeClr val="bg1">
                <a:lumMod val="75000"/>
              </a:schemeClr>
            </a:solidFill>
          </a:ln>
        </p:spPr>
        <p:txBody>
          <a:bodyPr wrap="square" lIns="91440" tIns="45720" rIns="91440" bIns="45720" anchor="t">
            <a:sp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Arial"/>
              </a:rPr>
              <a:t>CREATED</a:t>
            </a:r>
            <a:r>
              <a:rPr kumimoji="0" lang="en-US" sz="1600" b="1" i="0" u="none" strike="noStrike" kern="1200" cap="none" spc="0" normalizeH="0" baseline="0" noProof="0">
                <a:ln>
                  <a:noFill/>
                </a:ln>
                <a:solidFill>
                  <a:prstClr val="black"/>
                </a:solidFill>
                <a:effectLst/>
                <a:uLnTx/>
                <a:uFillTx/>
                <a:latin typeface="Arial"/>
                <a:ea typeface="+mn-ea"/>
                <a:cs typeface="Arial"/>
              </a:rPr>
              <a:t> </a:t>
            </a:r>
            <a:endPar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42900" indent="-169545">
              <a:spcBef>
                <a:spcPts val="300"/>
              </a:spcBef>
              <a:buFont typeface="Symbol" panose="05050102010706020507" pitchFamily="18" charset="2"/>
              <a:buChar char=""/>
              <a:defRPr/>
            </a:pPr>
            <a:r>
              <a:rPr lang="en-US" sz="1200">
                <a:solidFill>
                  <a:prstClr val="black"/>
                </a:solidFill>
                <a:ea typeface="Times New Roman" panose="02020603050405020304" pitchFamily="18" charset="0"/>
                <a:cs typeface="Arial"/>
              </a:rPr>
              <a:t>New Connected Brand Identify</a:t>
            </a:r>
            <a:endParaRPr kumimoji="0" lang="en-US" sz="12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endParaRPr>
          </a:p>
          <a:p>
            <a:pPr marL="342900" indent="-169545">
              <a:spcBef>
                <a:spcPts val="300"/>
              </a:spcBef>
              <a:buFont typeface="Symbol" panose="05050102010706020507" pitchFamily="18" charset="2"/>
              <a:buChar char=""/>
              <a:defRPr/>
            </a:pPr>
            <a:r>
              <a:rPr lang="en-US" sz="1200">
                <a:solidFill>
                  <a:prstClr val="black"/>
                </a:solidFill>
                <a:ea typeface="Times New Roman" panose="02020603050405020304" pitchFamily="18" charset="0"/>
                <a:cs typeface="Arial"/>
              </a:rPr>
              <a:t>End</a:t>
            </a:r>
            <a:r>
              <a:rPr kumimoji="0" lang="en-US" sz="1200" b="0" i="0" u="none" strike="noStrike" kern="1200" cap="none" spc="0" normalizeH="0" baseline="0" noProof="0">
                <a:ln>
                  <a:noFill/>
                </a:ln>
                <a:solidFill>
                  <a:prstClr val="black"/>
                </a:solidFill>
                <a:effectLst/>
                <a:uLnTx/>
                <a:uFillTx/>
                <a:ea typeface="Times New Roman" panose="02020603050405020304" pitchFamily="18" charset="0"/>
                <a:cs typeface="Arial"/>
              </a:rPr>
              <a:t> </a:t>
            </a:r>
            <a:r>
              <a:rPr lang="en-US" sz="1200">
                <a:solidFill>
                  <a:prstClr val="black"/>
                </a:solidFill>
                <a:ea typeface="Times New Roman" panose="02020603050405020304" pitchFamily="18" charset="0"/>
                <a:cs typeface="Arial"/>
              </a:rPr>
              <a:t>User First Call</a:t>
            </a:r>
            <a:endParaRPr kumimoji="0" lang="en-US" sz="12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endParaRPr>
          </a:p>
          <a:p>
            <a:pPr marL="342900" indent="-169545">
              <a:spcBef>
                <a:spcPts val="300"/>
              </a:spcBef>
              <a:buFont typeface="Symbol" panose="05050102010706020507" pitchFamily="18" charset="2"/>
              <a:buChar char=""/>
              <a:defRPr/>
            </a:pPr>
            <a:r>
              <a:rPr lang="en-AU" sz="1200">
                <a:solidFill>
                  <a:prstClr val="black"/>
                </a:solidFill>
                <a:ea typeface="Times New Roman" panose="02020603050405020304" pitchFamily="18" charset="0"/>
                <a:cs typeface="Arial"/>
              </a:rPr>
              <a:t>End User Connected Strategy Brochure</a:t>
            </a:r>
            <a:endParaRPr kumimoji="0" lang="en-AU" sz="1200" b="0" i="0" u="none" strike="noStrike" kern="1200" cap="none" spc="0" normalizeH="0" baseline="0" noProof="0">
              <a:ln>
                <a:noFill/>
              </a:ln>
              <a:solidFill>
                <a:prstClr val="black"/>
              </a:solidFill>
              <a:effectLst/>
              <a:uLnTx/>
              <a:uFillTx/>
              <a:ea typeface="Times New Roman" panose="02020603050405020304" pitchFamily="18" charset="0"/>
              <a:cs typeface="Arial" panose="020B0604020202020204" pitchFamily="34" charset="0"/>
            </a:endParaRPr>
          </a:p>
          <a:p>
            <a:pPr marL="342900" marR="0" lvl="0" indent="-169545"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a:pPr>
            <a:r>
              <a:rPr lang="en-US" sz="1200">
                <a:solidFill>
                  <a:prstClr val="black"/>
                </a:solidFill>
                <a:ea typeface="Times New Roman" panose="02020603050405020304" pitchFamily="18" charset="0"/>
                <a:cs typeface="Arial"/>
              </a:rPr>
              <a:t>Partner </a:t>
            </a:r>
            <a:r>
              <a:rPr kumimoji="0" lang="en-US" sz="1200" b="0" i="0" u="none" strike="noStrike" kern="1200" cap="none" spc="0" normalizeH="0" baseline="0" noProof="0">
                <a:ln>
                  <a:noFill/>
                </a:ln>
                <a:solidFill>
                  <a:prstClr val="black"/>
                </a:solidFill>
                <a:effectLst/>
                <a:uLnTx/>
                <a:uFillTx/>
                <a:ea typeface="Times New Roman" panose="02020603050405020304" pitchFamily="18" charset="0"/>
                <a:cs typeface="Arial"/>
              </a:rPr>
              <a:t>First Call Deck </a:t>
            </a:r>
            <a:endParaRPr lang="en-US" sz="1200">
              <a:solidFill>
                <a:prstClr val="black"/>
              </a:solidFill>
              <a:ea typeface="Times New Roman" panose="02020603050405020304" pitchFamily="18" charset="0"/>
              <a:cs typeface="Arial"/>
            </a:endParaRPr>
          </a:p>
          <a:p>
            <a:pPr marL="342900" marR="0" lvl="0" indent="-169545"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a:pPr>
            <a:r>
              <a:rPr kumimoji="0" lang="en-US" sz="1200" b="0" i="0" u="none" strike="noStrike" kern="1200" cap="none" spc="0" normalizeH="0" baseline="0" noProof="0">
                <a:ln>
                  <a:noFill/>
                </a:ln>
                <a:solidFill>
                  <a:prstClr val="black"/>
                </a:solidFill>
                <a:effectLst/>
                <a:uLnTx/>
                <a:uFillTx/>
                <a:ea typeface="Times New Roman" panose="02020603050405020304" pitchFamily="18" charset="0"/>
                <a:cs typeface="Arial"/>
              </a:rPr>
              <a:t>Battlecard</a:t>
            </a:r>
            <a:endParaRPr lang="en-US" sz="1200" b="0" i="0" u="none" strike="noStrike" kern="1200" cap="none" spc="0" normalizeH="0" baseline="0" noProof="0">
              <a:ln>
                <a:noFill/>
              </a:ln>
              <a:solidFill>
                <a:prstClr val="black"/>
              </a:solidFill>
              <a:effectLst/>
              <a:uLnTx/>
              <a:uFillTx/>
              <a:ea typeface="Times New Roman" panose="02020603050405020304" pitchFamily="18" charset="0"/>
              <a:cs typeface="Arial"/>
            </a:endParaRPr>
          </a:p>
          <a:p>
            <a:pPr marL="342900" marR="0" lvl="0" indent="-169545"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a:pPr>
            <a:r>
              <a:rPr lang="en-US" sz="1200">
                <a:solidFill>
                  <a:prstClr val="black"/>
                </a:solidFill>
                <a:ea typeface="Times New Roman" panose="02020603050405020304" pitchFamily="18" charset="0"/>
                <a:cs typeface="Arial"/>
              </a:rPr>
              <a:t>Website - BA and BMS Landing pages</a:t>
            </a:r>
          </a:p>
          <a:p>
            <a:pPr marL="342900" indent="-169545">
              <a:spcBef>
                <a:spcPts val="300"/>
              </a:spcBef>
              <a:buFont typeface="Symbol" panose="05050102010706020507" pitchFamily="18" charset="2"/>
              <a:buChar char=""/>
              <a:defRPr/>
            </a:pPr>
            <a:r>
              <a:rPr lang="en-US" sz="1200">
                <a:solidFill>
                  <a:prstClr val="black"/>
                </a:solidFill>
                <a:cs typeface="Arial"/>
              </a:rPr>
              <a:t>Service and End User Application Sell sheets – final edits</a:t>
            </a:r>
          </a:p>
          <a:p>
            <a:pPr marL="342900" indent="-169545">
              <a:spcBef>
                <a:spcPts val="300"/>
              </a:spcBef>
              <a:buFont typeface="Symbol" panose="05050102010706020507" pitchFamily="18" charset="2"/>
              <a:buChar char=""/>
              <a:defRPr/>
            </a:pPr>
            <a:r>
              <a:rPr lang="en-US" sz="1200">
                <a:solidFill>
                  <a:prstClr val="black"/>
                </a:solidFill>
                <a:cs typeface="Arial"/>
              </a:rPr>
              <a:t>Updated - CEM First Call Deck</a:t>
            </a:r>
            <a:endParaRPr lang="en-AU" sz="1200"/>
          </a:p>
          <a:p>
            <a:pPr marL="342900" indent="-169545">
              <a:spcBef>
                <a:spcPts val="300"/>
              </a:spcBef>
              <a:buFont typeface="Symbol" panose="05050102010706020507" pitchFamily="18" charset="2"/>
              <a:buChar char=""/>
              <a:defRPr/>
            </a:pPr>
            <a:r>
              <a:rPr lang="en-US" sz="1200">
                <a:solidFill>
                  <a:prstClr val="black"/>
                </a:solidFill>
                <a:cs typeface="Arial"/>
              </a:rPr>
              <a:t>Updated - RBM First Call Deck</a:t>
            </a:r>
            <a:endParaRPr lang="en-AU" sz="1200"/>
          </a:p>
          <a:p>
            <a:pPr marL="342900" indent="-169545">
              <a:spcBef>
                <a:spcPts val="300"/>
              </a:spcBef>
              <a:buFont typeface="Symbol" panose="05050102010706020507" pitchFamily="18" charset="2"/>
              <a:buChar char=""/>
              <a:defRPr/>
            </a:pPr>
            <a:r>
              <a:rPr lang="en-US" sz="1200">
                <a:solidFill>
                  <a:prstClr val="black"/>
                </a:solidFill>
                <a:cs typeface="Arial"/>
              </a:rPr>
              <a:t>New - PDM First Call Deck</a:t>
            </a:r>
            <a:endParaRPr lang="en-AU" sz="1200"/>
          </a:p>
          <a:p>
            <a:pPr marL="342900" indent="-169545">
              <a:spcBef>
                <a:spcPts val="300"/>
              </a:spcBef>
              <a:buFont typeface="Symbol" panose="05050102010706020507" pitchFamily="18" charset="2"/>
              <a:buChar char=""/>
              <a:defRPr/>
            </a:pPr>
            <a:r>
              <a:rPr lang="en-US" sz="1200">
                <a:solidFill>
                  <a:prstClr val="black"/>
                </a:solidFill>
                <a:cs typeface="Arial"/>
              </a:rPr>
              <a:t>New - Insight Builder Deck</a:t>
            </a:r>
          </a:p>
          <a:p>
            <a:pPr marL="342900" indent="-169545">
              <a:spcBef>
                <a:spcPts val="300"/>
              </a:spcBef>
              <a:buFont typeface="Symbol" panose="05050102010706020507" pitchFamily="18" charset="2"/>
              <a:buChar char=""/>
              <a:defRPr/>
            </a:pPr>
            <a:r>
              <a:rPr lang="en-US" sz="1200">
                <a:solidFill>
                  <a:prstClr val="black"/>
                </a:solidFill>
                <a:cs typeface="Arial"/>
              </a:rPr>
              <a:t>Case Studies – existing global examples</a:t>
            </a:r>
            <a:endParaRPr lang="en-AU" sz="1200"/>
          </a:p>
        </p:txBody>
      </p:sp>
      <p:sp>
        <p:nvSpPr>
          <p:cNvPr id="19" name="AutoShape 2" descr="Hotel-Business-logo - Vagus PR">
            <a:extLst>
              <a:ext uri="{FF2B5EF4-FFF2-40B4-BE49-F238E27FC236}">
                <a16:creationId xmlns:a16="http://schemas.microsoft.com/office/drawing/2014/main" id="{3073E4A7-94AE-4566-9F8E-6B57D3B3A077}"/>
              </a:ext>
            </a:extLst>
          </p:cNvPr>
          <p:cNvSpPr>
            <a:spLocks noChangeAspect="1" noChangeArrowheads="1"/>
          </p:cNvSpPr>
          <p:nvPr/>
        </p:nvSpPr>
        <p:spPr bwMode="auto">
          <a:xfrm>
            <a:off x="5943600" y="317027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AutoShape 4" descr="Hotel-Business-logo - Vagus PR">
            <a:extLst>
              <a:ext uri="{FF2B5EF4-FFF2-40B4-BE49-F238E27FC236}">
                <a16:creationId xmlns:a16="http://schemas.microsoft.com/office/drawing/2014/main" id="{63C17EFE-B00E-46BD-9AF7-D59E3FBD149D}"/>
              </a:ext>
            </a:extLst>
          </p:cNvPr>
          <p:cNvSpPr>
            <a:spLocks noChangeAspect="1" noChangeArrowheads="1"/>
          </p:cNvSpPr>
          <p:nvPr/>
        </p:nvSpPr>
        <p:spPr bwMode="auto">
          <a:xfrm>
            <a:off x="6096000" y="332267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58B9657A-1972-4039-B80F-EF90BBDBF990}"/>
              </a:ext>
            </a:extLst>
          </p:cNvPr>
          <p:cNvSpPr/>
          <p:nvPr/>
        </p:nvSpPr>
        <p:spPr>
          <a:xfrm>
            <a:off x="375622" y="4454684"/>
            <a:ext cx="5460616" cy="1900520"/>
          </a:xfrm>
          <a:prstGeom prst="rect">
            <a:avLst/>
          </a:prstGeom>
          <a:solidFill>
            <a:schemeClr val="bg1">
              <a:lumMod val="95000"/>
            </a:schemeClr>
          </a:solidFill>
          <a:ln>
            <a:solidFill>
              <a:schemeClr val="bg1">
                <a:lumMod val="75000"/>
              </a:schemeClr>
            </a:solidFill>
          </a:ln>
        </p:spPr>
        <p:txBody>
          <a:bodyPr wrap="square" lIns="91440" tIns="45720" rIns="91440" bIns="45720" anchor="t">
            <a:spAutoFit/>
          </a:bodyPr>
          <a:lstStyle/>
          <a:p>
            <a:pPr algn="ctr">
              <a:spcBef>
                <a:spcPts val="300"/>
              </a:spcBef>
              <a:defRPr/>
            </a:pPr>
            <a:r>
              <a:rPr lang="en-US" sz="1200" b="1">
                <a:latin typeface="Arial"/>
                <a:cs typeface="Arial"/>
              </a:rPr>
              <a:t>IN PROGRESS</a:t>
            </a:r>
            <a:endParaRPr lang="en-US" sz="1200" b="1" i="0" u="none" strike="noStrike" kern="1200" cap="none" spc="0" normalizeH="0" baseline="0" noProof="0">
              <a:ln>
                <a:noFill/>
              </a:ln>
              <a:effectLst/>
              <a:uLnTx/>
              <a:uFillTx/>
              <a:latin typeface="Arial"/>
              <a:cs typeface="Arial"/>
            </a:endParaRPr>
          </a:p>
          <a:p>
            <a:pPr marL="342900" indent="-169545">
              <a:spcBef>
                <a:spcPts val="300"/>
              </a:spcBef>
              <a:buFont typeface="Symbol" panose="05050102010706020507" pitchFamily="18" charset="2"/>
              <a:buChar char=""/>
              <a:defRPr/>
            </a:pPr>
            <a:r>
              <a:rPr lang="en-AU" sz="1100">
                <a:solidFill>
                  <a:prstClr val="black"/>
                </a:solidFill>
                <a:cs typeface="Arial"/>
              </a:rPr>
              <a:t>Main promotional video </a:t>
            </a:r>
          </a:p>
          <a:p>
            <a:pPr marL="342900" indent="-169545">
              <a:spcBef>
                <a:spcPts val="300"/>
              </a:spcBef>
              <a:buFont typeface="Symbol" panose="05050102010706020507" pitchFamily="18" charset="2"/>
              <a:buChar char=""/>
              <a:defRPr/>
            </a:pPr>
            <a:r>
              <a:rPr lang="en-AU" sz="1100">
                <a:solidFill>
                  <a:prstClr val="black"/>
                </a:solidFill>
                <a:cs typeface="Arial"/>
              </a:rPr>
              <a:t>Case Studies - NHS Property Services (UK) </a:t>
            </a:r>
          </a:p>
          <a:p>
            <a:pPr marL="342900" indent="-169545">
              <a:spcBef>
                <a:spcPts val="300"/>
              </a:spcBef>
              <a:buFont typeface="Symbol" panose="05050102010706020507" pitchFamily="18" charset="2"/>
              <a:buChar char=""/>
              <a:defRPr/>
            </a:pPr>
            <a:r>
              <a:rPr lang="en-US" sz="1100">
                <a:solidFill>
                  <a:prstClr val="black"/>
                </a:solidFill>
                <a:cs typeface="Arial"/>
              </a:rPr>
              <a:t>Full BMS Connected Web </a:t>
            </a:r>
            <a:r>
              <a:rPr lang="en-US" sz="1100" err="1">
                <a:solidFill>
                  <a:prstClr val="black"/>
                </a:solidFill>
                <a:cs typeface="Arial"/>
              </a:rPr>
              <a:t>EcoSystem</a:t>
            </a:r>
            <a:r>
              <a:rPr lang="en-US" sz="1100">
                <a:solidFill>
                  <a:prstClr val="black"/>
                </a:solidFill>
                <a:cs typeface="Arial"/>
              </a:rPr>
              <a:t> - SEO, UX</a:t>
            </a:r>
            <a:endParaRPr lang="en-AU" sz="1100">
              <a:solidFill>
                <a:prstClr val="black"/>
              </a:solidFill>
            </a:endParaRPr>
          </a:p>
          <a:p>
            <a:pPr marL="342900" indent="-169545">
              <a:spcBef>
                <a:spcPts val="300"/>
              </a:spcBef>
              <a:buFont typeface="Symbol" panose="05050102010706020507" pitchFamily="18" charset="2"/>
              <a:buChar char=""/>
              <a:defRPr/>
            </a:pPr>
            <a:r>
              <a:rPr lang="en-US" sz="1100">
                <a:solidFill>
                  <a:prstClr val="black"/>
                </a:solidFill>
                <a:cs typeface="Arial"/>
              </a:rPr>
              <a:t>Updates - RBM Brochure</a:t>
            </a:r>
            <a:endParaRPr lang="en-AU" sz="1100"/>
          </a:p>
          <a:p>
            <a:pPr marL="342900" indent="-169545">
              <a:spcBef>
                <a:spcPts val="300"/>
              </a:spcBef>
              <a:buFont typeface="Symbol" panose="05050102010706020507" pitchFamily="18" charset="2"/>
              <a:buChar char=""/>
              <a:defRPr/>
            </a:pPr>
            <a:r>
              <a:rPr lang="en-US" sz="1100">
                <a:solidFill>
                  <a:prstClr val="black"/>
                </a:solidFill>
                <a:cs typeface="Arial"/>
              </a:rPr>
              <a:t>Updates - HBOC remote services brochure</a:t>
            </a:r>
          </a:p>
          <a:p>
            <a:pPr marL="342900" indent="-169545">
              <a:spcBef>
                <a:spcPts val="300"/>
              </a:spcBef>
              <a:buFont typeface="Symbol" panose="05050102010706020507" pitchFamily="18" charset="2"/>
              <a:buChar char=""/>
              <a:defRPr/>
            </a:pPr>
            <a:r>
              <a:rPr lang="en-US" sz="1100" b="1">
                <a:solidFill>
                  <a:prstClr val="black"/>
                </a:solidFill>
                <a:cs typeface="Arial"/>
              </a:rPr>
              <a:t>NPI in and Box </a:t>
            </a:r>
            <a:r>
              <a:rPr lang="en-US" sz="1100">
                <a:solidFill>
                  <a:prstClr val="black"/>
                </a:solidFill>
                <a:cs typeface="Arial"/>
              </a:rPr>
              <a:t>(Core assets, plus FAQs, Comp. Battlecard, pricing, social assets etc.)</a:t>
            </a:r>
          </a:p>
          <a:p>
            <a:pPr marL="342900" indent="-169545">
              <a:spcBef>
                <a:spcPts val="300"/>
              </a:spcBef>
              <a:buFont typeface="Symbol" panose="05050102010706020507" pitchFamily="18" charset="2"/>
              <a:buChar char=""/>
              <a:defRPr/>
            </a:pPr>
            <a:r>
              <a:rPr lang="en-US" sz="1100" b="1" err="1">
                <a:solidFill>
                  <a:prstClr val="black"/>
                </a:solidFill>
                <a:cs typeface="Arial"/>
              </a:rPr>
              <a:t>Vidyard</a:t>
            </a:r>
            <a:r>
              <a:rPr lang="en-US" sz="1100" b="1">
                <a:solidFill>
                  <a:prstClr val="black"/>
                </a:solidFill>
                <a:cs typeface="Arial"/>
              </a:rPr>
              <a:t> Hub </a:t>
            </a:r>
            <a:r>
              <a:rPr lang="en-US" sz="1100">
                <a:solidFill>
                  <a:prstClr val="black"/>
                </a:solidFill>
                <a:cs typeface="Arial"/>
              </a:rPr>
              <a:t>video library for training and campaign video content (in dev.)</a:t>
            </a:r>
          </a:p>
        </p:txBody>
      </p:sp>
      <p:sp>
        <p:nvSpPr>
          <p:cNvPr id="3" name="Rectangle 2">
            <a:extLst>
              <a:ext uri="{FF2B5EF4-FFF2-40B4-BE49-F238E27FC236}">
                <a16:creationId xmlns:a16="http://schemas.microsoft.com/office/drawing/2014/main" id="{10EDE2AE-AC9C-4E7D-2122-B4F11EA4BD41}"/>
              </a:ext>
            </a:extLst>
          </p:cNvPr>
          <p:cNvSpPr/>
          <p:nvPr/>
        </p:nvSpPr>
        <p:spPr>
          <a:xfrm>
            <a:off x="6403582" y="1298403"/>
            <a:ext cx="5454583" cy="2746906"/>
          </a:xfrm>
          <a:prstGeom prst="rect">
            <a:avLst/>
          </a:prstGeom>
          <a:solidFill>
            <a:schemeClr val="bg1">
              <a:lumMod val="95000"/>
            </a:schemeClr>
          </a:solidFill>
          <a:ln>
            <a:solidFill>
              <a:schemeClr val="bg1">
                <a:lumMod val="75000"/>
              </a:schemeClr>
            </a:solidFill>
          </a:ln>
        </p:spPr>
        <p:txBody>
          <a:bodyPr wrap="square" lIns="91440" tIns="45720" rIns="91440" bIns="4572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900" b="1" i="1" u="none" strike="noStrike" kern="1200" cap="none" spc="0" normalizeH="0" baseline="0" noProof="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Arial"/>
              </a:rPr>
              <a:t>CREATED</a:t>
            </a:r>
            <a:r>
              <a:rPr kumimoji="0" lang="en-US" sz="1600" b="1" i="0" u="none" strike="noStrike" kern="1200" cap="none" spc="0" normalizeH="0" baseline="0" noProof="0">
                <a:ln>
                  <a:noFill/>
                </a:ln>
                <a:solidFill>
                  <a:prstClr val="black"/>
                </a:solidFill>
                <a:effectLst/>
                <a:uLnTx/>
                <a:uFillTx/>
                <a:latin typeface="Arial"/>
                <a:ea typeface="+mn-ea"/>
                <a:cs typeface="Arial"/>
              </a:rPr>
              <a:t> </a:t>
            </a:r>
            <a:endPar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42900" indent="-169545">
              <a:spcBef>
                <a:spcPts val="300"/>
              </a:spcBef>
              <a:buFont typeface="Symbol" panose="05050102010706020507" pitchFamily="18" charset="2"/>
              <a:buChar char=""/>
              <a:defRPr/>
            </a:pPr>
            <a:r>
              <a:rPr lang="en-US" sz="1200">
                <a:solidFill>
                  <a:prstClr val="black"/>
                </a:solidFill>
                <a:latin typeface="Arial"/>
                <a:ea typeface="Times New Roman" panose="02020603050405020304" pitchFamily="18" charset="0"/>
                <a:cs typeface="Arial"/>
              </a:rPr>
              <a:t>New Connected Brand Identify</a:t>
            </a:r>
          </a:p>
          <a:p>
            <a:pPr marL="342900" indent="-169545">
              <a:spcBef>
                <a:spcPts val="300"/>
              </a:spcBef>
              <a:buFont typeface="Symbol" panose="05050102010706020507" pitchFamily="18" charset="2"/>
              <a:buChar char=""/>
              <a:defRPr/>
            </a:pPr>
            <a:r>
              <a:rPr kumimoji="0" lang="en-US" sz="1200" b="0" i="0" u="none" strike="noStrike" kern="1200" cap="none" spc="0" normalizeH="0" baseline="0" noProof="0">
                <a:ln>
                  <a:noFill/>
                </a:ln>
                <a:solidFill>
                  <a:prstClr val="black"/>
                </a:solidFill>
                <a:effectLst/>
                <a:uLnTx/>
                <a:uFillTx/>
                <a:latin typeface="Arial"/>
                <a:ea typeface="Times New Roman" panose="02020603050405020304" pitchFamily="18" charset="0"/>
                <a:cs typeface="Arial"/>
              </a:rPr>
              <a:t>New Connected Events concept (stand, lightbox, banner)</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342900" marR="0" lvl="0" indent="-169545"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a:pPr>
            <a:r>
              <a:rPr kumimoji="0" lang="en-US" sz="1200" b="0" i="0" u="none" strike="noStrike" kern="1200" cap="none" spc="0" normalizeH="0" baseline="0" noProof="0">
                <a:ln>
                  <a:noFill/>
                </a:ln>
                <a:solidFill>
                  <a:prstClr val="black"/>
                </a:solidFill>
                <a:effectLst/>
                <a:uLnTx/>
                <a:uFillTx/>
                <a:latin typeface="Arial"/>
                <a:ea typeface="Times New Roman" panose="02020603050405020304" pitchFamily="18" charset="0"/>
                <a:cs typeface="Arial"/>
              </a:rPr>
              <a:t>Email Nurture Connectivity Campaign</a:t>
            </a:r>
          </a:p>
          <a:p>
            <a:pPr marL="342900" marR="0" lvl="0" indent="-169545"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a:pPr>
            <a:r>
              <a:rPr lang="en-US" sz="1200">
                <a:solidFill>
                  <a:prstClr val="black"/>
                </a:solidFill>
                <a:latin typeface="Arial"/>
                <a:ea typeface="Times New Roman" panose="02020603050405020304" pitchFamily="18" charset="0"/>
                <a:cs typeface="Arial"/>
              </a:rPr>
              <a:t>Connectivity</a:t>
            </a:r>
            <a:r>
              <a:rPr kumimoji="0" lang="en-US" sz="1200" b="0" i="0" u="none" strike="noStrike" kern="1200" cap="none" spc="0" normalizeH="0" baseline="0" noProof="0">
                <a:ln>
                  <a:noFill/>
                </a:ln>
                <a:solidFill>
                  <a:prstClr val="black"/>
                </a:solidFill>
                <a:effectLst/>
                <a:uLnTx/>
                <a:uFillTx/>
                <a:latin typeface="Arial"/>
                <a:ea typeface="Times New Roman" panose="02020603050405020304" pitchFamily="18" charset="0"/>
                <a:cs typeface="Arial"/>
              </a:rPr>
              <a:t> -</a:t>
            </a:r>
            <a:r>
              <a:rPr lang="en-US" sz="1200">
                <a:solidFill>
                  <a:prstClr val="black"/>
                </a:solidFill>
                <a:latin typeface="Arial"/>
                <a:ea typeface="Times New Roman" panose="02020603050405020304" pitchFamily="18" charset="0"/>
                <a:cs typeface="Arial"/>
              </a:rPr>
              <a:t> Social/SEM awareness assets</a:t>
            </a:r>
          </a:p>
          <a:p>
            <a:pPr marL="342900" indent="-169545">
              <a:spcBef>
                <a:spcPts val="300"/>
              </a:spcBef>
              <a:buFont typeface="Symbol" panose="05050102010706020507" pitchFamily="18" charset="2"/>
              <a:buChar char=""/>
              <a:defRPr/>
            </a:pPr>
            <a:r>
              <a:rPr lang="en-US" sz="1200">
                <a:solidFill>
                  <a:prstClr val="black"/>
                </a:solidFill>
                <a:latin typeface="Arial"/>
                <a:ea typeface="Times New Roman" panose="02020603050405020304" pitchFamily="18" charset="0"/>
                <a:cs typeface="Arial"/>
              </a:rPr>
              <a:t>Connectivity - Social/SEM awareness and nurture campaign</a:t>
            </a:r>
          </a:p>
          <a:p>
            <a:pPr marL="342900" indent="-169545">
              <a:spcBef>
                <a:spcPts val="300"/>
              </a:spcBef>
              <a:buFont typeface="Symbol" panose="05050102010706020507" pitchFamily="18" charset="2"/>
              <a:buChar char=""/>
              <a:defRPr/>
            </a:pPr>
            <a:r>
              <a:rPr lang="en-US" sz="1200">
                <a:solidFill>
                  <a:prstClr val="black"/>
                </a:solidFill>
                <a:latin typeface="Arial"/>
                <a:ea typeface="Times New Roman" panose="02020603050405020304" pitchFamily="18" charset="0"/>
                <a:cs typeface="Arial"/>
              </a:rPr>
              <a:t>Connectivity E-Book with feeders 1 pager</a:t>
            </a:r>
          </a:p>
          <a:p>
            <a:pPr marL="342900" indent="-169545">
              <a:spcBef>
                <a:spcPts val="300"/>
              </a:spcBef>
              <a:buFont typeface="Symbol" panose="05050102010706020507" pitchFamily="18" charset="2"/>
              <a:buChar char=""/>
              <a:defRPr/>
            </a:pPr>
            <a:r>
              <a:rPr lang="en-US" sz="1200">
                <a:solidFill>
                  <a:prstClr val="black"/>
                </a:solidFill>
                <a:latin typeface="Arial"/>
                <a:ea typeface="Times New Roman" panose="02020603050405020304" pitchFamily="18" charset="0"/>
                <a:cs typeface="Arial"/>
              </a:rPr>
              <a:t>Energy Efficiency E-Book with 1 pager</a:t>
            </a:r>
          </a:p>
          <a:p>
            <a:pPr marL="342900" indent="-169545">
              <a:spcBef>
                <a:spcPts val="300"/>
              </a:spcBef>
              <a:buFont typeface="Symbol" panose="05050102010706020507" pitchFamily="18" charset="2"/>
              <a:buChar char=""/>
              <a:defRPr/>
            </a:pPr>
            <a:r>
              <a:rPr kumimoji="0" lang="en-US" sz="1200" b="0" i="0" u="none" strike="noStrike" kern="1200" cap="none" spc="0" normalizeH="0" baseline="0" noProof="0">
                <a:ln>
                  <a:noFill/>
                </a:ln>
                <a:solidFill>
                  <a:srgbClr val="242424"/>
                </a:solidFill>
                <a:effectLst/>
                <a:uLnTx/>
                <a:uFillTx/>
                <a:ea typeface="+mn-ea"/>
                <a:cs typeface="+mn-cs"/>
              </a:rPr>
              <a:t>Industry Insights Into Connectivity To Elevate Building Performance</a:t>
            </a:r>
          </a:p>
          <a:p>
            <a:pPr marL="342900" indent="-169545">
              <a:spcBef>
                <a:spcPts val="300"/>
              </a:spcBef>
              <a:buFont typeface="Symbol" panose="05050102010706020507" pitchFamily="18" charset="2"/>
              <a:buChar char=""/>
              <a:defRPr/>
            </a:pPr>
            <a:r>
              <a:rPr lang="en-US" sz="1200">
                <a:solidFill>
                  <a:prstClr val="black"/>
                </a:solidFill>
                <a:latin typeface="Arial"/>
                <a:ea typeface="Times New Roman" panose="02020603050405020304" pitchFamily="18" charset="0"/>
                <a:cs typeface="Arial"/>
              </a:rPr>
              <a:t>Connectivity - Thought leadership video (+ 20 sec social) – final edits</a:t>
            </a:r>
            <a:endParaRPr kumimoji="0" lang="en-US" sz="1200" b="0" i="0" u="none" strike="noStrike" kern="1200" cap="none" spc="0" normalizeH="0" baseline="0" noProof="0">
              <a:ln>
                <a:noFill/>
              </a:ln>
              <a:solidFill>
                <a:srgbClr val="242424"/>
              </a:solidFill>
              <a:effectLst/>
              <a:uLnTx/>
              <a:uFillTx/>
              <a:ea typeface="+mn-ea"/>
              <a:cs typeface="+mn-cs"/>
            </a:endParaRPr>
          </a:p>
          <a:p>
            <a:pPr marL="173355">
              <a:spcBef>
                <a:spcPts val="300"/>
              </a:spcBef>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 name="Rectangle 3">
            <a:extLst>
              <a:ext uri="{FF2B5EF4-FFF2-40B4-BE49-F238E27FC236}">
                <a16:creationId xmlns:a16="http://schemas.microsoft.com/office/drawing/2014/main" id="{BFC49710-2298-D085-E4DB-27690AEAF9FA}"/>
              </a:ext>
            </a:extLst>
          </p:cNvPr>
          <p:cNvSpPr/>
          <p:nvPr/>
        </p:nvSpPr>
        <p:spPr>
          <a:xfrm>
            <a:off x="6411256" y="4187238"/>
            <a:ext cx="5439234" cy="2200602"/>
          </a:xfrm>
          <a:prstGeom prst="rect">
            <a:avLst/>
          </a:prstGeom>
          <a:solidFill>
            <a:schemeClr val="bg1">
              <a:lumMod val="95000"/>
            </a:schemeClr>
          </a:solidFill>
          <a:ln>
            <a:solidFill>
              <a:schemeClr val="bg1">
                <a:lumMod val="75000"/>
              </a:schemeClr>
            </a:solidFill>
          </a:ln>
        </p:spPr>
        <p:txBody>
          <a:bodyPr wrap="square" lIns="91440" tIns="45720" rIns="91440" bIns="4572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900" b="1" i="1" u="none" strike="noStrike" kern="1200" cap="none" spc="0" normalizeH="0" baseline="0" noProof="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endParaRPr>
          </a:p>
          <a:p>
            <a:pPr algn="ctr">
              <a:spcBef>
                <a:spcPts val="300"/>
              </a:spcBef>
              <a:defRPr/>
            </a:pPr>
            <a:r>
              <a:rPr lang="en-US" sz="1200" b="1">
                <a:latin typeface="Arial"/>
                <a:cs typeface="Arial"/>
              </a:rPr>
              <a:t>IN PROGRESS</a:t>
            </a:r>
            <a:endParaRPr lang="en-US" sz="1200" b="1" i="0" u="none" strike="noStrike" kern="1200" cap="none" spc="0" normalizeH="0" baseline="0" noProof="0">
              <a:ln>
                <a:noFill/>
              </a:ln>
              <a:effectLst/>
              <a:uLnTx/>
              <a:uFillTx/>
              <a:latin typeface="Arial"/>
              <a:cs typeface="Arial"/>
            </a:endParaRPr>
          </a:p>
          <a:p>
            <a:pPr marL="342900" indent="-169545">
              <a:spcBef>
                <a:spcPts val="300"/>
              </a:spcBef>
              <a:buFont typeface="Symbol" panose="05050102010706020507" pitchFamily="18" charset="2"/>
              <a:buChar char=""/>
              <a:defRPr/>
            </a:pPr>
            <a:r>
              <a:rPr lang="en-US" sz="1200">
                <a:solidFill>
                  <a:prstClr val="black"/>
                </a:solidFill>
                <a:latin typeface="Arial"/>
                <a:ea typeface="Times New Roman" panose="02020603050405020304" pitchFamily="18" charset="0"/>
                <a:cs typeface="Arial"/>
              </a:rPr>
              <a:t>Partner Engagement Regional Webinar – Late April</a:t>
            </a:r>
          </a:p>
          <a:p>
            <a:pPr marL="342900" indent="-169545">
              <a:spcBef>
                <a:spcPts val="300"/>
              </a:spcBef>
              <a:buFont typeface="Symbol" panose="05050102010706020507" pitchFamily="18" charset="2"/>
              <a:buChar char=""/>
              <a:defRPr/>
            </a:pPr>
            <a:r>
              <a:rPr lang="en-US" sz="1200">
                <a:solidFill>
                  <a:prstClr val="black"/>
                </a:solidFill>
                <a:latin typeface="Arial"/>
                <a:ea typeface="Times New Roman" panose="02020603050405020304" pitchFamily="18" charset="0"/>
                <a:cs typeface="Arial"/>
              </a:rPr>
              <a:t>Connected Strategy Promotional video (90 sec, plus 20 sec social)</a:t>
            </a:r>
          </a:p>
          <a:p>
            <a:pPr marL="342900" indent="-169545">
              <a:spcBef>
                <a:spcPts val="300"/>
              </a:spcBef>
              <a:buFont typeface="Symbol" panose="05050102010706020507" pitchFamily="18" charset="2"/>
              <a:buChar char=""/>
              <a:defRPr/>
            </a:pPr>
            <a:r>
              <a:rPr lang="en-US" sz="1200">
                <a:solidFill>
                  <a:prstClr val="black"/>
                </a:solidFill>
                <a:latin typeface="Arial"/>
                <a:ea typeface="Times New Roman" panose="02020603050405020304" pitchFamily="18" charset="0"/>
                <a:cs typeface="Arial"/>
              </a:rPr>
              <a:t>Connectivity - Blog</a:t>
            </a:r>
          </a:p>
          <a:p>
            <a:pPr marL="342900" indent="-169545">
              <a:spcBef>
                <a:spcPts val="300"/>
              </a:spcBef>
              <a:buFont typeface="Symbol" panose="05050102010706020507" pitchFamily="18" charset="2"/>
              <a:buChar char=""/>
              <a:defRPr/>
            </a:pPr>
            <a:r>
              <a:rPr lang="en-GB" sz="1200">
                <a:solidFill>
                  <a:prstClr val="black"/>
                </a:solidFill>
                <a:latin typeface="Arial"/>
                <a:ea typeface="Times New Roman" panose="02020603050405020304" pitchFamily="18" charset="0"/>
                <a:cs typeface="Arial"/>
              </a:rPr>
              <a:t>Connectivity Journey Guide - How To Connect with Honeywell – Guide</a:t>
            </a:r>
          </a:p>
          <a:p>
            <a:pPr marL="342900" indent="-169545">
              <a:spcBef>
                <a:spcPts val="300"/>
              </a:spcBef>
              <a:buFont typeface="Symbol" panose="05050102010706020507" pitchFamily="18" charset="2"/>
              <a:buChar char=""/>
              <a:defRPr/>
            </a:pPr>
            <a:r>
              <a:rPr lang="en-GB" sz="1200">
                <a:solidFill>
                  <a:prstClr val="black"/>
                </a:solidFill>
                <a:latin typeface="Arial"/>
                <a:ea typeface="Times New Roman" panose="02020603050405020304" pitchFamily="18" charset="0"/>
                <a:cs typeface="Arial"/>
              </a:rPr>
              <a:t>Ai partner training video platform (</a:t>
            </a:r>
            <a:r>
              <a:rPr lang="en-GB" sz="1200" err="1">
                <a:solidFill>
                  <a:prstClr val="black"/>
                </a:solidFill>
                <a:latin typeface="Arial"/>
                <a:ea typeface="Times New Roman" panose="02020603050405020304" pitchFamily="18" charset="0"/>
                <a:cs typeface="Arial"/>
              </a:rPr>
              <a:t>Synthesia</a:t>
            </a:r>
            <a:r>
              <a:rPr lang="en-GB" sz="1200">
                <a:solidFill>
                  <a:prstClr val="black"/>
                </a:solidFill>
                <a:latin typeface="Arial"/>
                <a:ea typeface="Times New Roman" panose="02020603050405020304" pitchFamily="18" charset="0"/>
                <a:cs typeface="Arial"/>
              </a:rPr>
              <a:t>) – customisable by language, market, partner </a:t>
            </a:r>
            <a:r>
              <a:rPr lang="en-US" sz="1200">
                <a:solidFill>
                  <a:prstClr val="black"/>
                </a:solidFill>
                <a:cs typeface="Arial"/>
              </a:rPr>
              <a:t>(in dev.)</a:t>
            </a:r>
          </a:p>
          <a:p>
            <a:pPr marL="342900" indent="-169545">
              <a:spcBef>
                <a:spcPts val="300"/>
              </a:spcBef>
              <a:buFont typeface="Symbol" panose="05050102010706020507" pitchFamily="18" charset="2"/>
              <a:buChar char=""/>
              <a:defRPr/>
            </a:pPr>
            <a:r>
              <a:rPr lang="en-US" sz="1200">
                <a:solidFill>
                  <a:prstClr val="black"/>
                </a:solidFill>
                <a:latin typeface="Arial"/>
                <a:ea typeface="Times New Roman" panose="02020603050405020304" pitchFamily="18" charset="0"/>
                <a:cs typeface="Arial"/>
              </a:rPr>
              <a:t>End User Regional Thought leader Panel Webinar Series</a:t>
            </a:r>
          </a:p>
          <a:p>
            <a:pPr marL="342900" indent="-169545">
              <a:spcBef>
                <a:spcPts val="300"/>
              </a:spcBef>
              <a:buFont typeface="Symbol" panose="05050102010706020507" pitchFamily="18" charset="2"/>
              <a:buChar char=""/>
              <a:defRPr/>
            </a:pPr>
            <a:endParaRPr lang="en-US" sz="1200">
              <a:solidFill>
                <a:prstClr val="black"/>
              </a:solidFill>
              <a:latin typeface="Arial"/>
              <a:ea typeface="Times New Roman" panose="02020603050405020304" pitchFamily="18" charset="0"/>
              <a:cs typeface="Arial"/>
            </a:endParaRPr>
          </a:p>
        </p:txBody>
      </p:sp>
      <p:cxnSp>
        <p:nvCxnSpPr>
          <p:cNvPr id="12" name="Straight Arrow Connector 11">
            <a:extLst>
              <a:ext uri="{FF2B5EF4-FFF2-40B4-BE49-F238E27FC236}">
                <a16:creationId xmlns:a16="http://schemas.microsoft.com/office/drawing/2014/main" id="{DD25832E-D33E-22BF-D124-AD3CEC8DC469}"/>
              </a:ext>
            </a:extLst>
          </p:cNvPr>
          <p:cNvCxnSpPr/>
          <p:nvPr/>
        </p:nvCxnSpPr>
        <p:spPr>
          <a:xfrm>
            <a:off x="6134394" y="1445949"/>
            <a:ext cx="0" cy="483430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EC260AA-24B9-07A0-6366-39954487999F}"/>
              </a:ext>
            </a:extLst>
          </p:cNvPr>
          <p:cNvSpPr/>
          <p:nvPr/>
        </p:nvSpPr>
        <p:spPr>
          <a:xfrm rot="5400000">
            <a:off x="27364" y="499212"/>
            <a:ext cx="36576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8" name="Rectangle 7">
            <a:extLst>
              <a:ext uri="{FF2B5EF4-FFF2-40B4-BE49-F238E27FC236}">
                <a16:creationId xmlns:a16="http://schemas.microsoft.com/office/drawing/2014/main" id="{E1CE3E68-6E33-6EC4-6B4C-BC9EEFC263DF}"/>
              </a:ext>
            </a:extLst>
          </p:cNvPr>
          <p:cNvSpPr/>
          <p:nvPr/>
        </p:nvSpPr>
        <p:spPr>
          <a:xfrm>
            <a:off x="1971346" y="934133"/>
            <a:ext cx="2286000" cy="2600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rPr>
              <a:t>SALES ENABLEMENT</a:t>
            </a:r>
          </a:p>
        </p:txBody>
      </p:sp>
      <p:sp>
        <p:nvSpPr>
          <p:cNvPr id="38" name="Rectangle 37">
            <a:extLst>
              <a:ext uri="{FF2B5EF4-FFF2-40B4-BE49-F238E27FC236}">
                <a16:creationId xmlns:a16="http://schemas.microsoft.com/office/drawing/2014/main" id="{876BBFD4-A978-50AF-BA0D-ACFA89B1B865}"/>
              </a:ext>
            </a:extLst>
          </p:cNvPr>
          <p:cNvSpPr/>
          <p:nvPr/>
        </p:nvSpPr>
        <p:spPr>
          <a:xfrm>
            <a:off x="8213462" y="934133"/>
            <a:ext cx="2286000" cy="2600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rPr>
              <a:t>DEMAND GENERATION</a:t>
            </a:r>
          </a:p>
        </p:txBody>
      </p:sp>
      <p:sp>
        <p:nvSpPr>
          <p:cNvPr id="41" name="Oval 40">
            <a:extLst>
              <a:ext uri="{FF2B5EF4-FFF2-40B4-BE49-F238E27FC236}">
                <a16:creationId xmlns:a16="http://schemas.microsoft.com/office/drawing/2014/main" id="{C5CC9DAD-B8EC-AFF2-1F4D-E7C304185D6C}"/>
              </a:ext>
            </a:extLst>
          </p:cNvPr>
          <p:cNvSpPr/>
          <p:nvPr/>
        </p:nvSpPr>
        <p:spPr>
          <a:xfrm rot="5400000">
            <a:off x="4523942" y="1918027"/>
            <a:ext cx="533137" cy="54336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pic>
        <p:nvPicPr>
          <p:cNvPr id="42" name="Graphic 25" descr="Checkmark with solid fill">
            <a:extLst>
              <a:ext uri="{FF2B5EF4-FFF2-40B4-BE49-F238E27FC236}">
                <a16:creationId xmlns:a16="http://schemas.microsoft.com/office/drawing/2014/main" id="{824BB5FA-9DC1-847F-AAC2-06C28336FC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041868">
            <a:off x="4584431" y="2022643"/>
            <a:ext cx="377073" cy="377073"/>
          </a:xfrm>
          <a:prstGeom prst="rect">
            <a:avLst/>
          </a:prstGeom>
        </p:spPr>
      </p:pic>
      <p:sp>
        <p:nvSpPr>
          <p:cNvPr id="43" name="Oval 42">
            <a:extLst>
              <a:ext uri="{FF2B5EF4-FFF2-40B4-BE49-F238E27FC236}">
                <a16:creationId xmlns:a16="http://schemas.microsoft.com/office/drawing/2014/main" id="{01D6AE34-5FA5-5D03-4A57-E64559D07CC8}"/>
              </a:ext>
            </a:extLst>
          </p:cNvPr>
          <p:cNvSpPr/>
          <p:nvPr/>
        </p:nvSpPr>
        <p:spPr>
          <a:xfrm rot="5400000">
            <a:off x="10898037" y="1918026"/>
            <a:ext cx="533137" cy="54336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pic>
        <p:nvPicPr>
          <p:cNvPr id="44" name="Graphic 25" descr="Checkmark with solid fill">
            <a:extLst>
              <a:ext uri="{FF2B5EF4-FFF2-40B4-BE49-F238E27FC236}">
                <a16:creationId xmlns:a16="http://schemas.microsoft.com/office/drawing/2014/main" id="{49C98374-0C6D-3B6C-5AFA-550D39B4CC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041868">
            <a:off x="11015088" y="2022642"/>
            <a:ext cx="377073" cy="377073"/>
          </a:xfrm>
          <a:prstGeom prst="rect">
            <a:avLst/>
          </a:prstGeom>
        </p:spPr>
      </p:pic>
    </p:spTree>
    <p:extLst>
      <p:ext uri="{BB962C8B-B14F-4D97-AF65-F5344CB8AC3E}">
        <p14:creationId xmlns:p14="http://schemas.microsoft.com/office/powerpoint/2010/main" val="449418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D25991E2-8E77-402E-909B-96989CACAC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6069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a:extLst>
                          <a:ext uri="{FF2B5EF4-FFF2-40B4-BE49-F238E27FC236}">
                            <a16:creationId xmlns:a16="http://schemas.microsoft.com/office/drawing/2014/main" id="{D25991E2-8E77-402E-909B-96989CACACB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9EFB7D-4E71-4B8E-B7F1-2169963A0D3D}"/>
              </a:ext>
              <a:ext uri="{C183D7F6-B498-43B3-948B-1728B52AA6E4}">
                <adec:decorative xmlns:adec="http://schemas.microsoft.com/office/drawing/2017/decorative" val="0"/>
              </a:ext>
            </a:extLst>
          </p:cNvPr>
          <p:cNvSpPr>
            <a:spLocks noGrp="1"/>
          </p:cNvSpPr>
          <p:nvPr>
            <p:ph type="title"/>
          </p:nvPr>
        </p:nvSpPr>
        <p:spPr>
          <a:xfrm>
            <a:off x="358819" y="427059"/>
            <a:ext cx="11446494" cy="403572"/>
          </a:xfrm>
        </p:spPr>
        <p:txBody>
          <a:bodyPr/>
          <a:lstStyle/>
          <a:p>
            <a:r>
              <a:rPr lang="en-US">
                <a:solidFill>
                  <a:srgbClr val="D22630"/>
                </a:solidFill>
              </a:rPr>
              <a:t>agenda</a:t>
            </a:r>
          </a:p>
        </p:txBody>
      </p:sp>
      <p:sp>
        <p:nvSpPr>
          <p:cNvPr id="7" name="Content Placeholder 6">
            <a:extLst>
              <a:ext uri="{FF2B5EF4-FFF2-40B4-BE49-F238E27FC236}">
                <a16:creationId xmlns:a16="http://schemas.microsoft.com/office/drawing/2014/main" id="{54BD06C8-27A7-4E7C-983D-9C2AC6C77B10}"/>
              </a:ext>
              <a:ext uri="{C183D7F6-B498-43B3-948B-1728B52AA6E4}">
                <adec:decorative xmlns:adec="http://schemas.microsoft.com/office/drawing/2017/decorative" val="0"/>
              </a:ext>
            </a:extLst>
          </p:cNvPr>
          <p:cNvSpPr>
            <a:spLocks noGrp="1"/>
          </p:cNvSpPr>
          <p:nvPr>
            <p:ph idx="17"/>
          </p:nvPr>
        </p:nvSpPr>
        <p:spPr>
          <a:xfrm>
            <a:off x="358819" y="1106905"/>
            <a:ext cx="10638044" cy="5324036"/>
          </a:xfrm>
        </p:spPr>
        <p:txBody>
          <a:bodyPr vert="horz" wrap="square" lIns="0" tIns="0" rIns="0" bIns="0" rtlCol="0" anchor="t">
            <a:noAutofit/>
          </a:bodyPr>
          <a:lstStyle/>
          <a:p>
            <a:pPr>
              <a:lnSpc>
                <a:spcPct val="90000"/>
              </a:lnSpc>
              <a:spcBef>
                <a:spcPts val="0"/>
              </a:spcBef>
              <a:buClr>
                <a:srgbClr val="D22630"/>
              </a:buClr>
            </a:pPr>
            <a:r>
              <a:rPr lang="en-US" sz="2000" b="0" spc="-55">
                <a:cs typeface="Arial Black" panose="020B0604020202020204" pitchFamily="34" charset="0"/>
              </a:rPr>
              <a:t>BACS- Offering</a:t>
            </a:r>
            <a:r>
              <a:rPr lang="en-US" sz="2000" b="0" spc="-45">
                <a:cs typeface="Arial Black" panose="020B0604020202020204" pitchFamily="34" charset="0"/>
              </a:rPr>
              <a:t> </a:t>
            </a:r>
            <a:r>
              <a:rPr lang="en-US" sz="2000" b="0" spc="-10">
                <a:cs typeface="Arial Black" panose="020B0604020202020204" pitchFamily="34" charset="0"/>
              </a:rPr>
              <a:t>Overview: Explain the strategy</a:t>
            </a:r>
            <a:br>
              <a:rPr lang="en-US" sz="2000" b="0"/>
            </a:br>
            <a:endParaRPr lang="en-US" sz="2000" b="0">
              <a:cs typeface="Arial"/>
            </a:endParaRPr>
          </a:p>
          <a:p>
            <a:pPr>
              <a:lnSpc>
                <a:spcPct val="90000"/>
              </a:lnSpc>
              <a:spcBef>
                <a:spcPts val="0"/>
              </a:spcBef>
              <a:buClr>
                <a:srgbClr val="D22630"/>
              </a:buClr>
            </a:pPr>
            <a:r>
              <a:rPr lang="en-US" sz="2000" b="0" spc="-20">
                <a:cs typeface="Arial Black" panose="020B0604020202020204" pitchFamily="34" charset="0"/>
              </a:rPr>
              <a:t>What’s Changed?</a:t>
            </a:r>
          </a:p>
          <a:p>
            <a:pPr>
              <a:lnSpc>
                <a:spcPct val="90000"/>
              </a:lnSpc>
              <a:spcBef>
                <a:spcPts val="0"/>
              </a:spcBef>
              <a:buClr>
                <a:srgbClr val="D22630"/>
              </a:buClr>
            </a:pPr>
            <a:endParaRPr lang="en-AU" sz="2000" b="0" spc="-45">
              <a:solidFill>
                <a:srgbClr val="231F20"/>
              </a:solidFill>
              <a:cs typeface="Arial Black" panose="020B0604020202020204" pitchFamily="34" charset="0"/>
            </a:endParaRPr>
          </a:p>
          <a:p>
            <a:pPr>
              <a:lnSpc>
                <a:spcPct val="90000"/>
              </a:lnSpc>
              <a:spcBef>
                <a:spcPts val="0"/>
              </a:spcBef>
              <a:buClr>
                <a:srgbClr val="D22630"/>
              </a:buClr>
            </a:pPr>
            <a:r>
              <a:rPr lang="en-US" sz="2000" b="0" spc="-45">
                <a:solidFill>
                  <a:srgbClr val="231F20"/>
                </a:solidFill>
                <a:cs typeface="Arial Black" panose="020B0604020202020204" pitchFamily="34" charset="0"/>
              </a:rPr>
              <a:t>Technical Architecture</a:t>
            </a:r>
            <a:endParaRPr lang="en-US" sz="2000" b="0" spc="-20">
              <a:cs typeface="Arial Black" panose="020B0604020202020204" pitchFamily="34" charset="0"/>
            </a:endParaRPr>
          </a:p>
          <a:p>
            <a:pPr>
              <a:lnSpc>
                <a:spcPct val="90000"/>
              </a:lnSpc>
              <a:spcBef>
                <a:spcPts val="0"/>
              </a:spcBef>
              <a:buClr>
                <a:srgbClr val="D22630"/>
              </a:buClr>
            </a:pPr>
            <a:endParaRPr lang="en-US" sz="2000" b="0" spc="-20">
              <a:cs typeface="Arial Black" panose="020B0604020202020204" pitchFamily="34" charset="0"/>
            </a:endParaRPr>
          </a:p>
          <a:p>
            <a:pPr>
              <a:lnSpc>
                <a:spcPct val="90000"/>
              </a:lnSpc>
              <a:spcBef>
                <a:spcPts val="0"/>
              </a:spcBef>
              <a:buClr>
                <a:srgbClr val="D22630"/>
              </a:buClr>
            </a:pPr>
            <a:r>
              <a:rPr lang="en-US" sz="2000" b="0" spc="-20">
                <a:cs typeface="Arial Black" panose="020B0604020202020204" pitchFamily="34" charset="0"/>
              </a:rPr>
              <a:t>Value</a:t>
            </a:r>
            <a:r>
              <a:rPr lang="en-US" sz="2000" b="0" spc="-15">
                <a:cs typeface="Arial Black" panose="020B0604020202020204" pitchFamily="34" charset="0"/>
              </a:rPr>
              <a:t> </a:t>
            </a:r>
            <a:r>
              <a:rPr lang="en-US" sz="2000" b="0" spc="-10">
                <a:cs typeface="Arial Black" panose="020B0604020202020204" pitchFamily="34" charset="0"/>
              </a:rPr>
              <a:t>Proposition: Partners.</a:t>
            </a:r>
          </a:p>
          <a:p>
            <a:pPr>
              <a:lnSpc>
                <a:spcPct val="90000"/>
              </a:lnSpc>
              <a:spcBef>
                <a:spcPts val="0"/>
              </a:spcBef>
              <a:buClr>
                <a:srgbClr val="D22630"/>
              </a:buClr>
            </a:pPr>
            <a:endParaRPr lang="en-US" sz="2000" b="0" spc="-10">
              <a:cs typeface="Arial Black" panose="020B0604020202020204" pitchFamily="34" charset="0"/>
            </a:endParaRPr>
          </a:p>
          <a:p>
            <a:pPr>
              <a:lnSpc>
                <a:spcPct val="90000"/>
              </a:lnSpc>
              <a:spcBef>
                <a:spcPts val="0"/>
              </a:spcBef>
              <a:buClr>
                <a:srgbClr val="D22630"/>
              </a:buClr>
            </a:pPr>
            <a:r>
              <a:rPr lang="en-US" sz="2000" b="0" spc="-20">
                <a:cs typeface="Arial Black" panose="020B0604020202020204" pitchFamily="34" charset="0"/>
              </a:rPr>
              <a:t>Value</a:t>
            </a:r>
            <a:r>
              <a:rPr lang="en-US" sz="2000" b="0" spc="-15">
                <a:cs typeface="Arial Black" panose="020B0604020202020204" pitchFamily="34" charset="0"/>
              </a:rPr>
              <a:t> </a:t>
            </a:r>
            <a:r>
              <a:rPr lang="en-US" sz="2000" b="0" spc="-10">
                <a:cs typeface="Arial Black" panose="020B0604020202020204" pitchFamily="34" charset="0"/>
              </a:rPr>
              <a:t>Proposition: Customers &amp; End Users</a:t>
            </a:r>
          </a:p>
          <a:p>
            <a:pPr>
              <a:lnSpc>
                <a:spcPct val="90000"/>
              </a:lnSpc>
              <a:spcBef>
                <a:spcPts val="0"/>
              </a:spcBef>
              <a:buClr>
                <a:srgbClr val="D22630"/>
              </a:buClr>
            </a:pPr>
            <a:endParaRPr lang="en-US" sz="2000" b="0" spc="-10">
              <a:cs typeface="Arial Black" panose="020B0604020202020204" pitchFamily="34" charset="0"/>
            </a:endParaRPr>
          </a:p>
          <a:p>
            <a:pPr>
              <a:lnSpc>
                <a:spcPct val="90000"/>
              </a:lnSpc>
              <a:spcBef>
                <a:spcPts val="0"/>
              </a:spcBef>
              <a:buClr>
                <a:srgbClr val="D22630"/>
              </a:buClr>
            </a:pPr>
            <a:r>
              <a:rPr lang="en-US" sz="2000" b="0" spc="-20">
                <a:cs typeface="Arial Black" panose="020B0604020202020204" pitchFamily="34" charset="0"/>
              </a:rPr>
              <a:t>Ordering, Package and Pricing. </a:t>
            </a:r>
          </a:p>
          <a:p>
            <a:pPr>
              <a:lnSpc>
                <a:spcPct val="90000"/>
              </a:lnSpc>
              <a:spcBef>
                <a:spcPts val="0"/>
              </a:spcBef>
              <a:buClr>
                <a:srgbClr val="D22630"/>
              </a:buClr>
            </a:pPr>
            <a:endParaRPr lang="en-US" sz="2000" b="0" spc="-20">
              <a:cs typeface="Arial Black" panose="020B0604020202020204" pitchFamily="34" charset="0"/>
            </a:endParaRPr>
          </a:p>
          <a:p>
            <a:pPr>
              <a:lnSpc>
                <a:spcPct val="90000"/>
              </a:lnSpc>
              <a:spcBef>
                <a:spcPts val="0"/>
              </a:spcBef>
              <a:buClr>
                <a:srgbClr val="D22630"/>
              </a:buClr>
            </a:pPr>
            <a:r>
              <a:rPr lang="en-US" sz="2000" b="0" spc="-20">
                <a:cs typeface="Arial Black" panose="020B0604020202020204" pitchFamily="34" charset="0"/>
              </a:rPr>
              <a:t>Partner Benefits</a:t>
            </a:r>
          </a:p>
          <a:p>
            <a:pPr>
              <a:lnSpc>
                <a:spcPct val="90000"/>
              </a:lnSpc>
              <a:spcBef>
                <a:spcPts val="0"/>
              </a:spcBef>
              <a:buClr>
                <a:srgbClr val="D22630"/>
              </a:buClr>
            </a:pPr>
            <a:endParaRPr lang="en-US" sz="2000" b="0" spc="-20">
              <a:cs typeface="Arial Black" panose="020B0604020202020204" pitchFamily="34" charset="0"/>
            </a:endParaRPr>
          </a:p>
          <a:p>
            <a:pPr>
              <a:lnSpc>
                <a:spcPct val="90000"/>
              </a:lnSpc>
              <a:spcBef>
                <a:spcPts val="0"/>
              </a:spcBef>
              <a:buClr>
                <a:srgbClr val="D22630"/>
              </a:buClr>
            </a:pPr>
            <a:r>
              <a:rPr lang="en-US" sz="2000" b="0" spc="-20">
                <a:cs typeface="Arial Black" panose="020B0604020202020204" pitchFamily="34" charset="0"/>
              </a:rPr>
              <a:t>Customer Benefits</a:t>
            </a:r>
            <a:endParaRPr lang="en-US" sz="2000" b="0">
              <a:cs typeface="Arial Black" panose="020B0604020202020204" pitchFamily="34" charset="0"/>
            </a:endParaRPr>
          </a:p>
          <a:p>
            <a:pPr>
              <a:lnSpc>
                <a:spcPct val="90000"/>
              </a:lnSpc>
              <a:spcBef>
                <a:spcPts val="0"/>
              </a:spcBef>
              <a:buClr>
                <a:srgbClr val="D22630"/>
              </a:buClr>
            </a:pPr>
            <a:endParaRPr lang="en-US" sz="2000" b="0">
              <a:cs typeface="Arial Black" panose="020B0604020202020204" pitchFamily="34" charset="0"/>
            </a:endParaRPr>
          </a:p>
          <a:p>
            <a:pPr>
              <a:lnSpc>
                <a:spcPct val="90000"/>
              </a:lnSpc>
              <a:spcBef>
                <a:spcPts val="0"/>
              </a:spcBef>
              <a:buClr>
                <a:srgbClr val="D22630"/>
              </a:buClr>
            </a:pPr>
            <a:r>
              <a:rPr lang="en-US" sz="2000" b="0" spc="-20">
                <a:cs typeface="Arial Black" panose="020B0604020202020204" pitchFamily="34" charset="0"/>
              </a:rPr>
              <a:t>Target Customer &amp; Target Verticals</a:t>
            </a:r>
          </a:p>
        </p:txBody>
      </p:sp>
      <p:sp>
        <p:nvSpPr>
          <p:cNvPr id="3" name="Slide Number Placeholder 2">
            <a:extLst>
              <a:ext uri="{FF2B5EF4-FFF2-40B4-BE49-F238E27FC236}">
                <a16:creationId xmlns:a16="http://schemas.microsoft.com/office/drawing/2014/main" id="{FA807694-3B35-46B1-A890-C63DC5532D5A}"/>
              </a:ext>
              <a:ext uri="{C183D7F6-B498-43B3-948B-1728B52AA6E4}">
                <adec:decorative xmlns:adec="http://schemas.microsoft.com/office/drawing/2017/decorative" val="0"/>
              </a:ext>
            </a:extLst>
          </p:cNvPr>
          <p:cNvSpPr>
            <a:spLocks noGrp="1"/>
          </p:cNvSpPr>
          <p:nvPr>
            <p:ph type="sldNum" sz="quarter" idx="12"/>
          </p:nvPr>
        </p:nvSpPr>
        <p:spPr/>
        <p:txBody>
          <a:bodyPr/>
          <a:lstStyle/>
          <a:p>
            <a:fld id="{7B94EC18-1D2B-4535-B738-0E53AFE26620}" type="slidenum">
              <a:rPr lang="en-US" smtClean="0"/>
              <a:t>2</a:t>
            </a:fld>
            <a:endParaRPr lang="en-US"/>
          </a:p>
        </p:txBody>
      </p:sp>
    </p:spTree>
    <p:extLst>
      <p:ext uri="{BB962C8B-B14F-4D97-AF65-F5344CB8AC3E}">
        <p14:creationId xmlns:p14="http://schemas.microsoft.com/office/powerpoint/2010/main" val="11908473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79FD13-44C8-D255-C654-CFA8C468C7DA}"/>
              </a:ext>
            </a:extLst>
          </p:cNvPr>
          <p:cNvSpPr>
            <a:spLocks noGrp="1"/>
          </p:cNvSpPr>
          <p:nvPr>
            <p:ph type="sldNum" sz="quarter" idx="12"/>
          </p:nvPr>
        </p:nvSpPr>
        <p:spPr/>
        <p:txBody>
          <a:bodyPr/>
          <a:lstStyle/>
          <a:p>
            <a:fld id="{7B94EC18-1D2B-4535-B738-0E53AFE26620}" type="slidenum">
              <a:rPr lang="en-US" smtClean="0"/>
              <a:t>20</a:t>
            </a:fld>
            <a:endParaRPr lang="en-US"/>
          </a:p>
        </p:txBody>
      </p:sp>
      <p:sp>
        <p:nvSpPr>
          <p:cNvPr id="22" name="Title 21">
            <a:extLst>
              <a:ext uri="{FF2B5EF4-FFF2-40B4-BE49-F238E27FC236}">
                <a16:creationId xmlns:a16="http://schemas.microsoft.com/office/drawing/2014/main" id="{A9F54D92-AD6F-1349-33F3-5B5005CCCF0E}"/>
              </a:ext>
            </a:extLst>
          </p:cNvPr>
          <p:cNvSpPr>
            <a:spLocks noGrp="1"/>
          </p:cNvSpPr>
          <p:nvPr>
            <p:ph type="title"/>
          </p:nvPr>
        </p:nvSpPr>
        <p:spPr/>
        <p:txBody>
          <a:bodyPr/>
          <a:lstStyle/>
          <a:p>
            <a:r>
              <a:rPr lang="en-GB"/>
              <a:t>Value across the board</a:t>
            </a:r>
            <a:endParaRPr lang="en-US"/>
          </a:p>
        </p:txBody>
      </p:sp>
      <p:sp>
        <p:nvSpPr>
          <p:cNvPr id="27" name="Content Placeholder 26">
            <a:extLst>
              <a:ext uri="{FF2B5EF4-FFF2-40B4-BE49-F238E27FC236}">
                <a16:creationId xmlns:a16="http://schemas.microsoft.com/office/drawing/2014/main" id="{BF306CF8-3D6A-594E-7A41-5C6F368F7B8F}"/>
              </a:ext>
            </a:extLst>
          </p:cNvPr>
          <p:cNvSpPr>
            <a:spLocks noGrp="1"/>
          </p:cNvSpPr>
          <p:nvPr>
            <p:ph idx="21"/>
          </p:nvPr>
        </p:nvSpPr>
        <p:spPr>
          <a:xfrm>
            <a:off x="2557670" y="1297056"/>
            <a:ext cx="2852529" cy="4548794"/>
          </a:xfrm>
          <a:ln>
            <a:solidFill>
              <a:schemeClr val="tx1"/>
            </a:solidFill>
          </a:ln>
        </p:spPr>
        <p:txBody>
          <a:bodyPr lIns="27432" rIns="54864"/>
          <a:lstStyle/>
          <a:p>
            <a:pPr algn="ctr"/>
            <a:endParaRPr lang="en-GB">
              <a:latin typeface="+mj-lt"/>
            </a:endParaRPr>
          </a:p>
          <a:p>
            <a:pPr algn="ctr"/>
            <a:endParaRPr lang="en-GB">
              <a:latin typeface="+mj-lt"/>
            </a:endParaRPr>
          </a:p>
          <a:p>
            <a:pPr algn="ctr"/>
            <a:r>
              <a:rPr lang="en-GB" sz="1700">
                <a:latin typeface="+mj-lt"/>
              </a:rPr>
              <a:t>VALUE FOR YOU</a:t>
            </a:r>
          </a:p>
          <a:p>
            <a:endParaRPr lang="en-GB">
              <a:latin typeface="+mj-lt"/>
            </a:endParaRPr>
          </a:p>
          <a:p>
            <a:pPr marL="342900" indent="-342900">
              <a:buFont typeface="Arial" panose="020B0604020202020204" pitchFamily="34" charset="0"/>
              <a:buChar char="•"/>
            </a:pPr>
            <a:r>
              <a:rPr lang="en-GB" sz="1600"/>
              <a:t>Drives value </a:t>
            </a:r>
            <a:r>
              <a:rPr lang="en-GB" sz="1600" b="0"/>
              <a:t>for your customers giving you greater share of wallet</a:t>
            </a:r>
          </a:p>
          <a:p>
            <a:pPr marL="342900" indent="-342900">
              <a:buFont typeface="Arial" panose="020B0604020202020204" pitchFamily="34" charset="0"/>
              <a:buChar char="•"/>
            </a:pPr>
            <a:r>
              <a:rPr lang="en-GB" sz="1600" b="0"/>
              <a:t>Software aids hardware </a:t>
            </a:r>
            <a:r>
              <a:rPr lang="en-GB" sz="1600"/>
              <a:t>pull through sales</a:t>
            </a:r>
          </a:p>
          <a:p>
            <a:pPr marL="342900" indent="-342900">
              <a:buFont typeface="Arial" panose="020B0604020202020204" pitchFamily="34" charset="0"/>
              <a:buChar char="•"/>
            </a:pPr>
            <a:r>
              <a:rPr lang="en-GB" sz="1600"/>
              <a:t>Differentiated offerings </a:t>
            </a:r>
            <a:r>
              <a:rPr lang="en-GB" sz="1600" b="0"/>
              <a:t> with SaaS solutions improve </a:t>
            </a:r>
            <a:r>
              <a:rPr lang="en-GB" sz="1600" b="0" err="1"/>
              <a:t>winability</a:t>
            </a:r>
            <a:endParaRPr lang="en-GB" sz="1600" b="0"/>
          </a:p>
          <a:p>
            <a:pPr marL="342900" indent="-342900">
              <a:buFont typeface="Arial" panose="020B0604020202020204" pitchFamily="34" charset="0"/>
              <a:buChar char="•"/>
            </a:pPr>
            <a:r>
              <a:rPr lang="en-GB" sz="1600"/>
              <a:t>Your M4.2 target contributor </a:t>
            </a:r>
            <a:r>
              <a:rPr lang="en-GB" sz="1600" b="0"/>
              <a:t>~ 20% SIP</a:t>
            </a:r>
          </a:p>
          <a:p>
            <a:pPr marL="342900" indent="-342900">
              <a:buFont typeface="Arial" panose="020B0604020202020204" pitchFamily="34" charset="0"/>
              <a:buChar char="•"/>
            </a:pPr>
            <a:endParaRPr lang="en-GB" sz="1600" b="0"/>
          </a:p>
          <a:p>
            <a:endParaRPr lang="en-US"/>
          </a:p>
        </p:txBody>
      </p:sp>
      <p:sp>
        <p:nvSpPr>
          <p:cNvPr id="28" name="Content Placeholder 27">
            <a:extLst>
              <a:ext uri="{FF2B5EF4-FFF2-40B4-BE49-F238E27FC236}">
                <a16:creationId xmlns:a16="http://schemas.microsoft.com/office/drawing/2014/main" id="{B44BDFC1-521B-4125-D2F6-E40AC14D5E66}"/>
              </a:ext>
            </a:extLst>
          </p:cNvPr>
          <p:cNvSpPr>
            <a:spLocks noGrp="1"/>
          </p:cNvSpPr>
          <p:nvPr>
            <p:ph idx="22"/>
          </p:nvPr>
        </p:nvSpPr>
        <p:spPr>
          <a:xfrm>
            <a:off x="5725759" y="1297056"/>
            <a:ext cx="2852529" cy="4548794"/>
          </a:xfrm>
          <a:ln>
            <a:solidFill>
              <a:schemeClr val="tx1"/>
            </a:solidFill>
          </a:ln>
        </p:spPr>
        <p:txBody>
          <a:bodyPr vert="horz" wrap="square" lIns="27432" tIns="0" rIns="54864" bIns="0" rtlCol="0">
            <a:noAutofit/>
          </a:bodyPr>
          <a:lstStyle/>
          <a:p>
            <a:pPr algn="ctr"/>
            <a:endParaRPr lang="en-GB">
              <a:latin typeface="+mj-lt"/>
            </a:endParaRPr>
          </a:p>
          <a:p>
            <a:pPr algn="ctr"/>
            <a:endParaRPr lang="en-GB">
              <a:latin typeface="+mj-lt"/>
            </a:endParaRPr>
          </a:p>
          <a:p>
            <a:pPr algn="ctr"/>
            <a:r>
              <a:rPr lang="en-GB" sz="1700">
                <a:latin typeface="+mj-lt"/>
              </a:rPr>
              <a:t>VALUE FOR PARTNERS</a:t>
            </a:r>
          </a:p>
          <a:p>
            <a:pPr algn="ctr"/>
            <a:endParaRPr lang="en-GB">
              <a:latin typeface="+mj-lt"/>
            </a:endParaRPr>
          </a:p>
          <a:p>
            <a:pPr marL="342900" indent="-342900">
              <a:buFont typeface="Arial" panose="020B0604020202020204" pitchFamily="34" charset="0"/>
              <a:buChar char="•"/>
            </a:pPr>
            <a:r>
              <a:rPr lang="en-GB" sz="1600"/>
              <a:t>Cost to Serve </a:t>
            </a:r>
            <a:r>
              <a:rPr lang="en-GB" sz="1600" b="0"/>
              <a:t>– Reduce cost to serve positively impacting profitability</a:t>
            </a:r>
          </a:p>
          <a:p>
            <a:pPr marL="342900" indent="-342900">
              <a:buFont typeface="Arial" panose="020B0604020202020204" pitchFamily="34" charset="0"/>
              <a:buChar char="•"/>
            </a:pPr>
            <a:r>
              <a:rPr lang="en-GB" sz="1600"/>
              <a:t>Revenue growth </a:t>
            </a:r>
            <a:r>
              <a:rPr lang="en-GB" sz="1600" b="0"/>
              <a:t>– with recurring revenue from SaaS offerings</a:t>
            </a:r>
          </a:p>
          <a:p>
            <a:pPr marL="342900" indent="-342900">
              <a:buFont typeface="Arial" panose="020B0604020202020204" pitchFamily="34" charset="0"/>
              <a:buChar char="•"/>
            </a:pPr>
            <a:r>
              <a:rPr lang="en-GB" sz="1600"/>
              <a:t>Differentiation </a:t>
            </a:r>
            <a:r>
              <a:rPr lang="en-GB" sz="1600" b="0"/>
              <a:t>– create long term relationships with end users </a:t>
            </a:r>
          </a:p>
          <a:p>
            <a:pPr algn="ctr"/>
            <a:endParaRPr lang="en-US">
              <a:latin typeface="+mj-lt"/>
            </a:endParaRPr>
          </a:p>
        </p:txBody>
      </p:sp>
      <p:sp>
        <p:nvSpPr>
          <p:cNvPr id="29" name="Content Placeholder 28">
            <a:extLst>
              <a:ext uri="{FF2B5EF4-FFF2-40B4-BE49-F238E27FC236}">
                <a16:creationId xmlns:a16="http://schemas.microsoft.com/office/drawing/2014/main" id="{D5B768FB-4FDC-F06D-8639-F2790DFA73B9}"/>
              </a:ext>
            </a:extLst>
          </p:cNvPr>
          <p:cNvSpPr>
            <a:spLocks noGrp="1"/>
          </p:cNvSpPr>
          <p:nvPr>
            <p:ph idx="23"/>
          </p:nvPr>
        </p:nvSpPr>
        <p:spPr>
          <a:xfrm>
            <a:off x="8880370" y="1297056"/>
            <a:ext cx="2852529" cy="4548794"/>
          </a:xfrm>
          <a:ln>
            <a:solidFill>
              <a:schemeClr val="tx1"/>
            </a:solidFill>
          </a:ln>
        </p:spPr>
        <p:txBody>
          <a:bodyPr vert="horz" wrap="square" lIns="27432" tIns="0" rIns="54864" bIns="0" rtlCol="0">
            <a:noAutofit/>
          </a:bodyPr>
          <a:lstStyle/>
          <a:p>
            <a:pPr algn="ctr"/>
            <a:endParaRPr lang="en-GB">
              <a:latin typeface="+mj-lt"/>
            </a:endParaRPr>
          </a:p>
          <a:p>
            <a:pPr algn="ctr"/>
            <a:endParaRPr lang="en-GB">
              <a:latin typeface="+mj-lt"/>
            </a:endParaRPr>
          </a:p>
          <a:p>
            <a:pPr algn="ctr"/>
            <a:r>
              <a:rPr lang="en-GB" sz="1650">
                <a:latin typeface="+mj-lt"/>
              </a:rPr>
              <a:t>VALUE FOR END USERS</a:t>
            </a:r>
          </a:p>
          <a:p>
            <a:pPr algn="ctr"/>
            <a:endParaRPr lang="en-GB" sz="1650">
              <a:latin typeface="+mj-lt"/>
            </a:endParaRPr>
          </a:p>
          <a:p>
            <a:pPr marL="342900" indent="-342900">
              <a:buFont typeface="Arial" panose="020B0604020202020204" pitchFamily="34" charset="0"/>
              <a:buChar char="•"/>
            </a:pPr>
            <a:r>
              <a:rPr lang="en-GB" sz="1600"/>
              <a:t>Uptime – </a:t>
            </a:r>
            <a:r>
              <a:rPr lang="en-GB" sz="1600" b="0"/>
              <a:t>identify issues faster to improve uptime</a:t>
            </a:r>
            <a:endParaRPr lang="en-GB" sz="1600"/>
          </a:p>
          <a:p>
            <a:pPr marL="342900" indent="-342900">
              <a:buFont typeface="Arial" panose="020B0604020202020204" pitchFamily="34" charset="0"/>
              <a:buChar char="•"/>
            </a:pPr>
            <a:r>
              <a:rPr lang="en-GB" sz="1600"/>
              <a:t>Risk Mitigation – </a:t>
            </a:r>
            <a:r>
              <a:rPr lang="en-GB" sz="1600" b="0"/>
              <a:t>identify obsolescence risk earlier</a:t>
            </a:r>
          </a:p>
          <a:p>
            <a:pPr marL="342900" indent="-342900">
              <a:buFont typeface="Arial" panose="020B0604020202020204" pitchFamily="34" charset="0"/>
              <a:buChar char="•"/>
            </a:pPr>
            <a:r>
              <a:rPr lang="en-GB" sz="1600"/>
              <a:t>Strategic Objectives – </a:t>
            </a:r>
            <a:r>
              <a:rPr lang="en-GB" sz="1600" b="0"/>
              <a:t>specific apps like CEM allow end users to meet strategic goals</a:t>
            </a:r>
            <a:endParaRPr lang="en-GB" sz="1600"/>
          </a:p>
          <a:p>
            <a:pPr marL="342900" indent="-342900">
              <a:buFont typeface="Arial" panose="020B0604020202020204" pitchFamily="34" charset="0"/>
              <a:buChar char="•"/>
            </a:pPr>
            <a:r>
              <a:rPr lang="en-GB" sz="1600"/>
              <a:t>Compliance - </a:t>
            </a:r>
            <a:r>
              <a:rPr lang="en-GB" sz="1600" b="0"/>
              <a:t> Specific reporting and dashboards allow better compliance</a:t>
            </a:r>
            <a:endParaRPr lang="en-GB" sz="1600"/>
          </a:p>
          <a:p>
            <a:pPr algn="ctr"/>
            <a:endParaRPr lang="en-US" sz="1650">
              <a:latin typeface="+mj-lt"/>
            </a:endParaRPr>
          </a:p>
        </p:txBody>
      </p:sp>
      <p:sp>
        <p:nvSpPr>
          <p:cNvPr id="31" name="Text Placeholder 30">
            <a:extLst>
              <a:ext uri="{FF2B5EF4-FFF2-40B4-BE49-F238E27FC236}">
                <a16:creationId xmlns:a16="http://schemas.microsoft.com/office/drawing/2014/main" id="{A33A9B15-A7D3-E811-6A2E-CBE2D6E93B00}"/>
              </a:ext>
            </a:extLst>
          </p:cNvPr>
          <p:cNvSpPr>
            <a:spLocks noGrp="1"/>
          </p:cNvSpPr>
          <p:nvPr>
            <p:ph type="body" sz="quarter" idx="25"/>
          </p:nvPr>
        </p:nvSpPr>
        <p:spPr/>
        <p:txBody>
          <a:bodyPr/>
          <a:lstStyle/>
          <a:p>
            <a:r>
              <a:rPr lang="en-GB">
                <a:latin typeface="+mj-lt"/>
              </a:rPr>
              <a:t>DRIVING POSITIVE OUTCOMES FOR ALL</a:t>
            </a:r>
            <a:endParaRPr lang="en-US">
              <a:latin typeface="+mj-lt"/>
            </a:endParaRPr>
          </a:p>
        </p:txBody>
      </p:sp>
      <p:sp>
        <p:nvSpPr>
          <p:cNvPr id="32" name="Hexagon 31">
            <a:extLst>
              <a:ext uri="{FF2B5EF4-FFF2-40B4-BE49-F238E27FC236}">
                <a16:creationId xmlns:a16="http://schemas.microsoft.com/office/drawing/2014/main" id="{D4DD13B4-B5F3-DFA8-F277-A312CD125FD2}"/>
              </a:ext>
            </a:extLst>
          </p:cNvPr>
          <p:cNvSpPr/>
          <p:nvPr/>
        </p:nvSpPr>
        <p:spPr>
          <a:xfrm rot="5400000">
            <a:off x="3516792" y="957353"/>
            <a:ext cx="934281" cy="861392"/>
          </a:xfrm>
          <a:prstGeom prst="hexagon">
            <a:avLst/>
          </a:prstGeom>
          <a:solidFill>
            <a:schemeClr val="bg1"/>
          </a:solid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3" name="Hexagon 32">
            <a:extLst>
              <a:ext uri="{FF2B5EF4-FFF2-40B4-BE49-F238E27FC236}">
                <a16:creationId xmlns:a16="http://schemas.microsoft.com/office/drawing/2014/main" id="{FBA9BF88-3405-AA20-31B1-71F5AD52B8D8}"/>
              </a:ext>
            </a:extLst>
          </p:cNvPr>
          <p:cNvSpPr/>
          <p:nvPr/>
        </p:nvSpPr>
        <p:spPr>
          <a:xfrm rot="5400000">
            <a:off x="6684882" y="957352"/>
            <a:ext cx="934281" cy="861392"/>
          </a:xfrm>
          <a:prstGeom prst="hexagon">
            <a:avLst/>
          </a:prstGeom>
          <a:solidFill>
            <a:schemeClr val="bg1"/>
          </a:solid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4" name="Hexagon 33">
            <a:extLst>
              <a:ext uri="{FF2B5EF4-FFF2-40B4-BE49-F238E27FC236}">
                <a16:creationId xmlns:a16="http://schemas.microsoft.com/office/drawing/2014/main" id="{FE6F69B0-19BB-3691-4376-A4F4B98C638B}"/>
              </a:ext>
            </a:extLst>
          </p:cNvPr>
          <p:cNvSpPr/>
          <p:nvPr/>
        </p:nvSpPr>
        <p:spPr>
          <a:xfrm rot="5400000">
            <a:off x="9839494" y="957352"/>
            <a:ext cx="934281" cy="861392"/>
          </a:xfrm>
          <a:prstGeom prst="hexagon">
            <a:avLst/>
          </a:prstGeom>
          <a:solidFill>
            <a:schemeClr val="bg1"/>
          </a:solid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36" name="Graphic 35" descr="Checkmark with solid fill">
            <a:extLst>
              <a:ext uri="{FF2B5EF4-FFF2-40B4-BE49-F238E27FC236}">
                <a16:creationId xmlns:a16="http://schemas.microsoft.com/office/drawing/2014/main" id="{62163698-5246-DC5A-3271-16AD45D19C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55332" y="1117466"/>
            <a:ext cx="457200" cy="457200"/>
          </a:xfrm>
          <a:prstGeom prst="rect">
            <a:avLst/>
          </a:prstGeom>
        </p:spPr>
      </p:pic>
      <p:pic>
        <p:nvPicPr>
          <p:cNvPr id="37" name="Graphic 36" descr="Checkmark with solid fill">
            <a:extLst>
              <a:ext uri="{FF2B5EF4-FFF2-40B4-BE49-F238E27FC236}">
                <a16:creationId xmlns:a16="http://schemas.microsoft.com/office/drawing/2014/main" id="{65BB2C4B-8D79-92C0-AD72-7339FB0C65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23422" y="1117466"/>
            <a:ext cx="457200" cy="457200"/>
          </a:xfrm>
          <a:prstGeom prst="rect">
            <a:avLst/>
          </a:prstGeom>
        </p:spPr>
      </p:pic>
      <p:pic>
        <p:nvPicPr>
          <p:cNvPr id="38" name="Graphic 37" descr="Checkmark with solid fill">
            <a:extLst>
              <a:ext uri="{FF2B5EF4-FFF2-40B4-BE49-F238E27FC236}">
                <a16:creationId xmlns:a16="http://schemas.microsoft.com/office/drawing/2014/main" id="{B9968D2E-8D84-5645-EE2F-A437EDAE34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078034" y="1117466"/>
            <a:ext cx="457200" cy="457200"/>
          </a:xfrm>
          <a:prstGeom prst="rect">
            <a:avLst/>
          </a:prstGeom>
        </p:spPr>
      </p:pic>
      <p:pic>
        <p:nvPicPr>
          <p:cNvPr id="39" name="Picture 38" descr="A black background with white text&#10;&#10;AI-generated content may be incorrect.">
            <a:extLst>
              <a:ext uri="{FF2B5EF4-FFF2-40B4-BE49-F238E27FC236}">
                <a16:creationId xmlns:a16="http://schemas.microsoft.com/office/drawing/2014/main" id="{DC48BADF-AB8A-ABA6-EBB4-EDC37CEF1A93}"/>
              </a:ext>
            </a:extLst>
          </p:cNvPr>
          <p:cNvPicPr>
            <a:picLocks noChangeAspect="1"/>
          </p:cNvPicPr>
          <p:nvPr/>
        </p:nvPicPr>
        <p:blipFill>
          <a:blip r:embed="rId4"/>
          <a:srcRect r="74371" b="51437"/>
          <a:stretch/>
        </p:blipFill>
        <p:spPr>
          <a:xfrm>
            <a:off x="735091" y="2912370"/>
            <a:ext cx="1000946" cy="1107385"/>
          </a:xfrm>
          <a:prstGeom prst="rect">
            <a:avLst/>
          </a:prstGeom>
        </p:spPr>
      </p:pic>
      <p:sp>
        <p:nvSpPr>
          <p:cNvPr id="40" name="Arrow: Chevron 39">
            <a:extLst>
              <a:ext uri="{FF2B5EF4-FFF2-40B4-BE49-F238E27FC236}">
                <a16:creationId xmlns:a16="http://schemas.microsoft.com/office/drawing/2014/main" id="{7B94C6DF-9DAE-8077-AD88-5BD468894FA9}"/>
              </a:ext>
            </a:extLst>
          </p:cNvPr>
          <p:cNvSpPr/>
          <p:nvPr/>
        </p:nvSpPr>
        <p:spPr>
          <a:xfrm>
            <a:off x="2188049" y="2160104"/>
            <a:ext cx="259671" cy="2570922"/>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1" name="TextBox 40">
            <a:extLst>
              <a:ext uri="{FF2B5EF4-FFF2-40B4-BE49-F238E27FC236}">
                <a16:creationId xmlns:a16="http://schemas.microsoft.com/office/drawing/2014/main" id="{CC56B166-DDA8-AD73-82CC-F1E24C294844}"/>
              </a:ext>
            </a:extLst>
          </p:cNvPr>
          <p:cNvSpPr txBox="1"/>
          <p:nvPr/>
        </p:nvSpPr>
        <p:spPr>
          <a:xfrm>
            <a:off x="232951" y="4016201"/>
            <a:ext cx="1899210" cy="553998"/>
          </a:xfrm>
          <a:prstGeom prst="rect">
            <a:avLst/>
          </a:prstGeom>
          <a:noFill/>
        </p:spPr>
        <p:txBody>
          <a:bodyPr wrap="square" lIns="0" tIns="0" rIns="0" bIns="0" rtlCol="0">
            <a:spAutoFit/>
          </a:bodyPr>
          <a:lstStyle/>
          <a:p>
            <a:pPr algn="ctr"/>
            <a:r>
              <a:rPr lang="en-GB">
                <a:latin typeface="+mj-lt"/>
              </a:rPr>
              <a:t>HONEYWELL</a:t>
            </a:r>
          </a:p>
          <a:p>
            <a:pPr algn="ctr"/>
            <a:r>
              <a:rPr lang="en-GB">
                <a:latin typeface="+mj-lt"/>
              </a:rPr>
              <a:t>FORGE</a:t>
            </a:r>
            <a:endParaRPr lang="en-US" err="1">
              <a:latin typeface="+mj-lt"/>
            </a:endParaRPr>
          </a:p>
        </p:txBody>
      </p:sp>
    </p:spTree>
    <p:extLst>
      <p:ext uri="{BB962C8B-B14F-4D97-AF65-F5344CB8AC3E}">
        <p14:creationId xmlns:p14="http://schemas.microsoft.com/office/powerpoint/2010/main" val="2039314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Our Services, expanding your services…</a:t>
            </a:r>
          </a:p>
        </p:txBody>
      </p:sp>
      <p:sp>
        <p:nvSpPr>
          <p:cNvPr id="2" name="Rounded Rectangle 1"/>
          <p:cNvSpPr/>
          <p:nvPr/>
        </p:nvSpPr>
        <p:spPr bwMode="auto">
          <a:xfrm>
            <a:off x="318773" y="1663953"/>
            <a:ext cx="3261476" cy="4312551"/>
          </a:xfrm>
          <a:prstGeom prst="roundRect">
            <a:avLst>
              <a:gd name="adj" fmla="val 3901"/>
            </a:avLst>
          </a:prstGeom>
          <a:solidFill>
            <a:schemeClr val="bg1">
              <a:lumMod val="95000"/>
            </a:schemeClr>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a:p>
        </p:txBody>
      </p:sp>
      <p:sp>
        <p:nvSpPr>
          <p:cNvPr id="42" name="Inhaltsplatzhalter 4"/>
          <p:cNvSpPr txBox="1">
            <a:spLocks/>
          </p:cNvSpPr>
          <p:nvPr/>
        </p:nvSpPr>
        <p:spPr>
          <a:xfrm>
            <a:off x="560283" y="1778789"/>
            <a:ext cx="2782289" cy="759310"/>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20000"/>
              </a:lnSpc>
              <a:buNone/>
            </a:pPr>
            <a:r>
              <a:rPr lang="en-US" sz="2133" b="1">
                <a:solidFill>
                  <a:schemeClr val="accent1"/>
                </a:solidFill>
                <a:latin typeface="+mj-lt"/>
              </a:rPr>
              <a:t>COMING APRIL 2025</a:t>
            </a:r>
            <a:endParaRPr lang="en-US" sz="1467" b="1">
              <a:solidFill>
                <a:schemeClr val="accent1"/>
              </a:solidFill>
              <a:latin typeface="+mn-lt"/>
            </a:endParaRPr>
          </a:p>
        </p:txBody>
      </p:sp>
      <p:sp>
        <p:nvSpPr>
          <p:cNvPr id="49" name="Inhaltsplatzhalter 4"/>
          <p:cNvSpPr txBox="1">
            <a:spLocks/>
          </p:cNvSpPr>
          <p:nvPr/>
        </p:nvSpPr>
        <p:spPr>
          <a:xfrm>
            <a:off x="5029986" y="1196966"/>
            <a:ext cx="5892223" cy="1156599"/>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50000"/>
              </a:lnSpc>
              <a:buNone/>
            </a:pPr>
            <a:r>
              <a:rPr lang="en-US" sz="1600" b="1">
                <a:solidFill>
                  <a:schemeClr val="accent1"/>
                </a:solidFill>
                <a:latin typeface="+mj-lt"/>
              </a:rPr>
              <a:t>INCREASED CONNECTIVITY OPTIONS</a:t>
            </a:r>
            <a:br>
              <a:rPr lang="en-US" sz="1600" b="1">
                <a:latin typeface="+mj-lt"/>
              </a:rPr>
            </a:br>
            <a:endParaRPr lang="en-US" sz="1600" b="1">
              <a:solidFill>
                <a:schemeClr val="accent1"/>
              </a:solidFill>
              <a:latin typeface="+mj-lt"/>
            </a:endParaRPr>
          </a:p>
          <a:p>
            <a:pPr marL="0" indent="0">
              <a:lnSpc>
                <a:spcPct val="150000"/>
              </a:lnSpc>
              <a:buNone/>
            </a:pPr>
            <a:endParaRPr lang="en-US" sz="1400">
              <a:solidFill>
                <a:schemeClr val="bg1">
                  <a:lumMod val="65000"/>
                </a:schemeClr>
              </a:solidFill>
              <a:latin typeface="+mj-lt"/>
            </a:endParaRPr>
          </a:p>
        </p:txBody>
      </p:sp>
      <p:sp>
        <p:nvSpPr>
          <p:cNvPr id="51" name="Inhaltsplatzhalter 4"/>
          <p:cNvSpPr txBox="1">
            <a:spLocks/>
          </p:cNvSpPr>
          <p:nvPr/>
        </p:nvSpPr>
        <p:spPr>
          <a:xfrm>
            <a:off x="5048571" y="3411644"/>
            <a:ext cx="6913502" cy="162204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50000"/>
              </a:lnSpc>
              <a:spcAft>
                <a:spcPts val="0"/>
              </a:spcAft>
              <a:buNone/>
            </a:pPr>
            <a:r>
              <a:rPr lang="en-US" sz="1600" b="1">
                <a:solidFill>
                  <a:schemeClr val="tx1"/>
                </a:solidFill>
                <a:latin typeface="+mj-lt"/>
              </a:rPr>
              <a:t>YOUR PARTNER PORTAL</a:t>
            </a:r>
          </a:p>
          <a:p>
            <a:pPr marL="0" indent="0">
              <a:lnSpc>
                <a:spcPct val="150000"/>
              </a:lnSpc>
              <a:spcAft>
                <a:spcPts val="0"/>
              </a:spcAft>
              <a:buNone/>
            </a:pPr>
            <a:r>
              <a:rPr lang="en-US" sz="1400">
                <a:solidFill>
                  <a:prstClr val="black"/>
                </a:solidFill>
                <a:latin typeface="Arial"/>
              </a:rPr>
              <a:t>For automatic modelling of site and for everyday management of software subscriptions and users</a:t>
            </a:r>
          </a:p>
          <a:p>
            <a:pPr marL="0" indent="0">
              <a:lnSpc>
                <a:spcPct val="150000"/>
              </a:lnSpc>
              <a:spcAft>
                <a:spcPts val="0"/>
              </a:spcAft>
              <a:buNone/>
            </a:pPr>
            <a:r>
              <a:rPr lang="en-US" sz="1400" i="1">
                <a:solidFill>
                  <a:prstClr val="black"/>
                </a:solidFill>
                <a:latin typeface="Arial"/>
              </a:rPr>
              <a:t>Features: org &amp; site wizard | cockpit view | AI based asset modelling | gateway mgt</a:t>
            </a:r>
            <a:endParaRPr lang="en-US" sz="1400" i="1">
              <a:solidFill>
                <a:prstClr val="black"/>
              </a:solidFill>
              <a:latin typeface="Arial"/>
              <a:cs typeface="Arial"/>
            </a:endParaRPr>
          </a:p>
          <a:p>
            <a:pPr marL="0" indent="0">
              <a:lnSpc>
                <a:spcPct val="150000"/>
              </a:lnSpc>
              <a:spcAft>
                <a:spcPts val="0"/>
              </a:spcAft>
              <a:buNone/>
            </a:pPr>
            <a:r>
              <a:rPr lang="en-US" sz="1400">
                <a:solidFill>
                  <a:prstClr val="black"/>
                </a:solidFill>
                <a:latin typeface="Arial"/>
              </a:rPr>
              <a:t> </a:t>
            </a:r>
            <a:endParaRPr lang="en-US" sz="1400">
              <a:solidFill>
                <a:prstClr val="black"/>
              </a:solidFill>
              <a:latin typeface="Arial"/>
              <a:cs typeface="Arial"/>
            </a:endParaRPr>
          </a:p>
        </p:txBody>
      </p:sp>
      <p:sp>
        <p:nvSpPr>
          <p:cNvPr id="60" name="Inhaltsplatzhalter 4"/>
          <p:cNvSpPr txBox="1">
            <a:spLocks/>
          </p:cNvSpPr>
          <p:nvPr/>
        </p:nvSpPr>
        <p:spPr>
          <a:xfrm>
            <a:off x="5048571" y="4828407"/>
            <a:ext cx="6687865" cy="2013372"/>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50000"/>
              </a:lnSpc>
              <a:spcAft>
                <a:spcPts val="0"/>
              </a:spcAft>
              <a:buNone/>
            </a:pPr>
            <a:r>
              <a:rPr lang="en-US" sz="1600" b="1">
                <a:solidFill>
                  <a:schemeClr val="tx1"/>
                </a:solidFill>
                <a:latin typeface="+mj-lt"/>
              </a:rPr>
              <a:t>APPLICATIONS</a:t>
            </a:r>
            <a:br>
              <a:rPr lang="en-US" sz="1850" b="1">
                <a:latin typeface="+mj-lt"/>
              </a:rPr>
            </a:br>
            <a:r>
              <a:rPr lang="en-US" sz="1400" b="1">
                <a:solidFill>
                  <a:schemeClr val="accent1"/>
                </a:solidFill>
                <a:latin typeface="Arial"/>
              </a:rPr>
              <a:t>NEW</a:t>
            </a:r>
            <a:r>
              <a:rPr lang="en-US" sz="1400">
                <a:solidFill>
                  <a:prstClr val="black"/>
                </a:solidFill>
                <a:latin typeface="Arial"/>
              </a:rPr>
              <a:t>: KPI Dashboard | Opportunity Assessment | Asset Lifecycle Assessment | Insight Builder | Remote Preventive Maintenance</a:t>
            </a:r>
          </a:p>
          <a:p>
            <a:pPr marL="0" indent="0">
              <a:lnSpc>
                <a:spcPct val="150000"/>
              </a:lnSpc>
              <a:spcAft>
                <a:spcPts val="0"/>
              </a:spcAft>
              <a:buNone/>
            </a:pPr>
            <a:r>
              <a:rPr lang="en-US" sz="1400">
                <a:solidFill>
                  <a:prstClr val="black"/>
                </a:solidFill>
                <a:latin typeface="Arial"/>
              </a:rPr>
              <a:t>EXISTING: Remote Building Manager | Predictive Maintenance | Carbon &amp; Energy Management</a:t>
            </a:r>
            <a:endParaRPr lang="en-US" sz="1400">
              <a:solidFill>
                <a:prstClr val="black"/>
              </a:solidFill>
              <a:latin typeface="Arial"/>
              <a:cs typeface="Arial"/>
            </a:endParaRPr>
          </a:p>
          <a:p>
            <a:pPr marL="0" indent="0">
              <a:lnSpc>
                <a:spcPct val="150000"/>
              </a:lnSpc>
              <a:buNone/>
            </a:pPr>
            <a:endParaRPr lang="en-US" sz="1400">
              <a:solidFill>
                <a:schemeClr val="bg1">
                  <a:lumMod val="65000"/>
                </a:schemeClr>
              </a:solidFill>
              <a:latin typeface="+mj-lt"/>
            </a:endParaRPr>
          </a:p>
        </p:txBody>
      </p:sp>
      <p:pic>
        <p:nvPicPr>
          <p:cNvPr id="6" name="Picture 4">
            <a:extLst>
              <a:ext uri="{FF2B5EF4-FFF2-40B4-BE49-F238E27FC236}">
                <a16:creationId xmlns:a16="http://schemas.microsoft.com/office/drawing/2014/main" id="{19DF02F8-B9FB-1A88-D164-5D9FF8B0ECF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714891" y="1668501"/>
            <a:ext cx="853596" cy="7266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723AF4E4-AA87-2E4E-A869-0A7DB80E4DB1}"/>
              </a:ext>
            </a:extLst>
          </p:cNvPr>
          <p:cNvPicPr>
            <a:picLocks noChangeAspect="1"/>
          </p:cNvPicPr>
          <p:nvPr/>
        </p:nvPicPr>
        <p:blipFill>
          <a:blip r:embed="rId4"/>
          <a:srcRect l="7729" t="10237" r="8908" b="12700"/>
          <a:stretch/>
        </p:blipFill>
        <p:spPr>
          <a:xfrm>
            <a:off x="6299932" y="1674935"/>
            <a:ext cx="1108110" cy="767703"/>
          </a:xfrm>
          <a:prstGeom prst="rect">
            <a:avLst/>
          </a:prstGeom>
        </p:spPr>
      </p:pic>
      <p:pic>
        <p:nvPicPr>
          <p:cNvPr id="8" name="Picture 14" descr="Honeywell Optimizer Supervisor - Product Datasheet">
            <a:extLst>
              <a:ext uri="{FF2B5EF4-FFF2-40B4-BE49-F238E27FC236}">
                <a16:creationId xmlns:a16="http://schemas.microsoft.com/office/drawing/2014/main" id="{1D653EFA-CDEC-C9B8-DAC2-AE452C5601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31586" y="1716001"/>
            <a:ext cx="840923" cy="6855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983CF8C-48F0-E539-3D28-0B5248F6297E}"/>
              </a:ext>
            </a:extLst>
          </p:cNvPr>
          <p:cNvPicPr>
            <a:picLocks noChangeAspect="1"/>
          </p:cNvPicPr>
          <p:nvPr/>
        </p:nvPicPr>
        <p:blipFill>
          <a:blip r:embed="rId6"/>
          <a:srcRect l="24582" t="13663" r="20599" b="12697"/>
          <a:stretch/>
        </p:blipFill>
        <p:spPr>
          <a:xfrm>
            <a:off x="10109995" y="1619714"/>
            <a:ext cx="1143001" cy="767703"/>
          </a:xfrm>
          <a:prstGeom prst="rect">
            <a:avLst/>
          </a:prstGeom>
        </p:spPr>
      </p:pic>
      <p:grpSp>
        <p:nvGrpSpPr>
          <p:cNvPr id="10" name="Group 9">
            <a:extLst>
              <a:ext uri="{FF2B5EF4-FFF2-40B4-BE49-F238E27FC236}">
                <a16:creationId xmlns:a16="http://schemas.microsoft.com/office/drawing/2014/main" id="{B034FB0A-4115-A633-1EEA-4DD80C8AC6B8}"/>
              </a:ext>
            </a:extLst>
          </p:cNvPr>
          <p:cNvGrpSpPr/>
          <p:nvPr/>
        </p:nvGrpSpPr>
        <p:grpSpPr>
          <a:xfrm>
            <a:off x="9042604" y="1700364"/>
            <a:ext cx="840923" cy="685573"/>
            <a:chOff x="9262128" y="1517772"/>
            <a:chExt cx="3594243" cy="2930247"/>
          </a:xfrm>
        </p:grpSpPr>
        <p:pic>
          <p:nvPicPr>
            <p:cNvPr id="11" name="Picture 14" descr="Honeywell Optimizer Supervisor - Product Datasheet">
              <a:extLst>
                <a:ext uri="{FF2B5EF4-FFF2-40B4-BE49-F238E27FC236}">
                  <a16:creationId xmlns:a16="http://schemas.microsoft.com/office/drawing/2014/main" id="{37DE8B83-8B3C-2DFF-C51F-CC5788E82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262128" y="1517772"/>
              <a:ext cx="3594243" cy="293024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a:extLst>
                <a:ext uri="{FF2B5EF4-FFF2-40B4-BE49-F238E27FC236}">
                  <a16:creationId xmlns:a16="http://schemas.microsoft.com/office/drawing/2014/main" id="{BF40925C-EE6E-3007-778F-29751B3D03B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52784" y="1715020"/>
              <a:ext cx="3412929" cy="2102600"/>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a:extLst>
              <a:ext uri="{FF2B5EF4-FFF2-40B4-BE49-F238E27FC236}">
                <a16:creationId xmlns:a16="http://schemas.microsoft.com/office/drawing/2014/main" id="{60292D10-C2D7-5A83-F931-7CA1F1DEB0F1}"/>
              </a:ext>
            </a:extLst>
          </p:cNvPr>
          <p:cNvSpPr txBox="1"/>
          <p:nvPr/>
        </p:nvSpPr>
        <p:spPr>
          <a:xfrm>
            <a:off x="5131585" y="2451656"/>
            <a:ext cx="840924" cy="107403"/>
          </a:xfrm>
          <a:prstGeom prst="rect">
            <a:avLst/>
          </a:prstGeom>
          <a:noFill/>
        </p:spPr>
        <p:txBody>
          <a:bodyPr wrap="square" lIns="0" tIns="0" rIns="0" bIns="0" rtlCol="0">
            <a:noAutofit/>
          </a:bodyPr>
          <a:lstStyle/>
          <a:p>
            <a:pPr algn="ctr">
              <a:spcAft>
                <a:spcPts val="600"/>
              </a:spcAft>
            </a:pPr>
            <a:r>
              <a:rPr lang="en-GB" sz="900" b="1">
                <a:latin typeface="+mj-lt"/>
              </a:rPr>
              <a:t>OPTIMIZER</a:t>
            </a:r>
            <a:endParaRPr lang="en-US" sz="1000" b="1">
              <a:latin typeface="+mj-lt"/>
            </a:endParaRPr>
          </a:p>
        </p:txBody>
      </p:sp>
      <p:sp>
        <p:nvSpPr>
          <p:cNvPr id="14" name="TextBox 13">
            <a:extLst>
              <a:ext uri="{FF2B5EF4-FFF2-40B4-BE49-F238E27FC236}">
                <a16:creationId xmlns:a16="http://schemas.microsoft.com/office/drawing/2014/main" id="{8E5533D3-144C-2F72-783C-95AF3B30256C}"/>
              </a:ext>
            </a:extLst>
          </p:cNvPr>
          <p:cNvSpPr txBox="1"/>
          <p:nvPr/>
        </p:nvSpPr>
        <p:spPr>
          <a:xfrm>
            <a:off x="6435949" y="2451656"/>
            <a:ext cx="840924" cy="107403"/>
          </a:xfrm>
          <a:prstGeom prst="rect">
            <a:avLst/>
          </a:prstGeom>
          <a:noFill/>
        </p:spPr>
        <p:txBody>
          <a:bodyPr wrap="square" lIns="0" tIns="0" rIns="0" bIns="0" rtlCol="0">
            <a:noAutofit/>
          </a:bodyPr>
          <a:lstStyle/>
          <a:p>
            <a:pPr algn="ctr">
              <a:spcAft>
                <a:spcPts val="600"/>
              </a:spcAft>
            </a:pPr>
            <a:r>
              <a:rPr lang="en-GB" sz="900" b="1">
                <a:latin typeface="+mj-lt"/>
              </a:rPr>
              <a:t>JACE 9000</a:t>
            </a:r>
            <a:endParaRPr lang="en-US" sz="1000" b="1">
              <a:latin typeface="+mj-lt"/>
            </a:endParaRPr>
          </a:p>
        </p:txBody>
      </p:sp>
      <p:sp>
        <p:nvSpPr>
          <p:cNvPr id="15" name="TextBox 14">
            <a:extLst>
              <a:ext uri="{FF2B5EF4-FFF2-40B4-BE49-F238E27FC236}">
                <a16:creationId xmlns:a16="http://schemas.microsoft.com/office/drawing/2014/main" id="{E81CDF96-0F49-8B1C-2AD6-21BC7EE9741C}"/>
              </a:ext>
            </a:extLst>
          </p:cNvPr>
          <p:cNvSpPr txBox="1"/>
          <p:nvPr/>
        </p:nvSpPr>
        <p:spPr>
          <a:xfrm>
            <a:off x="7487999" y="2452206"/>
            <a:ext cx="1493865" cy="247607"/>
          </a:xfrm>
          <a:prstGeom prst="rect">
            <a:avLst/>
          </a:prstGeom>
          <a:noFill/>
        </p:spPr>
        <p:txBody>
          <a:bodyPr wrap="square" lIns="0" tIns="0" rIns="0" bIns="0" rtlCol="0" anchor="t">
            <a:noAutofit/>
          </a:bodyPr>
          <a:lstStyle/>
          <a:p>
            <a:pPr algn="ctr">
              <a:spcAft>
                <a:spcPts val="600"/>
              </a:spcAft>
            </a:pPr>
            <a:r>
              <a:rPr lang="en-GB" sz="900" b="1">
                <a:latin typeface="+mj-lt"/>
              </a:rPr>
              <a:t>FORGE GATEWAY</a:t>
            </a:r>
            <a:endParaRPr lang="en-US" sz="900" b="1">
              <a:latin typeface="+mj-lt"/>
            </a:endParaRPr>
          </a:p>
        </p:txBody>
      </p:sp>
      <p:sp>
        <p:nvSpPr>
          <p:cNvPr id="16" name="TextBox 15">
            <a:extLst>
              <a:ext uri="{FF2B5EF4-FFF2-40B4-BE49-F238E27FC236}">
                <a16:creationId xmlns:a16="http://schemas.microsoft.com/office/drawing/2014/main" id="{B47EA5AF-508E-9F07-269B-246CF6A9D47B}"/>
              </a:ext>
            </a:extLst>
          </p:cNvPr>
          <p:cNvSpPr txBox="1"/>
          <p:nvPr/>
        </p:nvSpPr>
        <p:spPr>
          <a:xfrm>
            <a:off x="9048158" y="2496256"/>
            <a:ext cx="840924" cy="107403"/>
          </a:xfrm>
          <a:prstGeom prst="rect">
            <a:avLst/>
          </a:prstGeom>
          <a:noFill/>
        </p:spPr>
        <p:txBody>
          <a:bodyPr wrap="square" lIns="0" tIns="0" rIns="0" bIns="0" rtlCol="0">
            <a:noAutofit/>
          </a:bodyPr>
          <a:lstStyle/>
          <a:p>
            <a:pPr algn="ctr">
              <a:spcAft>
                <a:spcPts val="600"/>
              </a:spcAft>
            </a:pPr>
            <a:r>
              <a:rPr lang="en-GB" sz="900" b="1">
                <a:latin typeface="+mj-lt"/>
              </a:rPr>
              <a:t>IQ VISION</a:t>
            </a:r>
            <a:endParaRPr lang="en-US" sz="1000" b="1">
              <a:latin typeface="+mj-lt"/>
            </a:endParaRPr>
          </a:p>
        </p:txBody>
      </p:sp>
      <p:sp>
        <p:nvSpPr>
          <p:cNvPr id="17" name="TextBox 16">
            <a:extLst>
              <a:ext uri="{FF2B5EF4-FFF2-40B4-BE49-F238E27FC236}">
                <a16:creationId xmlns:a16="http://schemas.microsoft.com/office/drawing/2014/main" id="{F8BE3127-6EEB-E9D9-32D9-C4813D12A675}"/>
              </a:ext>
            </a:extLst>
          </p:cNvPr>
          <p:cNvSpPr txBox="1"/>
          <p:nvPr/>
        </p:nvSpPr>
        <p:spPr>
          <a:xfrm>
            <a:off x="10309551" y="2431207"/>
            <a:ext cx="840924" cy="242034"/>
          </a:xfrm>
          <a:prstGeom prst="rect">
            <a:avLst/>
          </a:prstGeom>
          <a:noFill/>
        </p:spPr>
        <p:txBody>
          <a:bodyPr wrap="square" lIns="0" tIns="0" rIns="0" bIns="0" rtlCol="0">
            <a:noAutofit/>
          </a:bodyPr>
          <a:lstStyle/>
          <a:p>
            <a:pPr algn="ctr">
              <a:spcAft>
                <a:spcPts val="600"/>
              </a:spcAft>
            </a:pPr>
            <a:r>
              <a:rPr lang="en-GB" sz="900" b="1">
                <a:latin typeface="+mj-lt"/>
              </a:rPr>
              <a:t>OPTIMIZER</a:t>
            </a:r>
            <a:br>
              <a:rPr lang="en-GB" sz="900" b="1">
                <a:latin typeface="+mj-lt"/>
              </a:rPr>
            </a:br>
            <a:r>
              <a:rPr lang="en-GB" sz="900" b="1">
                <a:latin typeface="+mj-lt"/>
              </a:rPr>
              <a:t>ADVANCED</a:t>
            </a:r>
            <a:endParaRPr lang="en-US" sz="1000" b="1">
              <a:latin typeface="+mj-lt"/>
            </a:endParaRPr>
          </a:p>
        </p:txBody>
      </p:sp>
      <p:pic>
        <p:nvPicPr>
          <p:cNvPr id="18" name="Picture 17" descr="A screenshot of a computer&#10;&#10;AI-generated content may be incorrect.">
            <a:extLst>
              <a:ext uri="{FF2B5EF4-FFF2-40B4-BE49-F238E27FC236}">
                <a16:creationId xmlns:a16="http://schemas.microsoft.com/office/drawing/2014/main" id="{9DC1AAFA-089B-B607-F8D6-1104B932B55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8707" y="2372445"/>
            <a:ext cx="2958538" cy="2192170"/>
          </a:xfrm>
          <a:prstGeom prst="rect">
            <a:avLst/>
          </a:prstGeom>
        </p:spPr>
      </p:pic>
      <p:pic>
        <p:nvPicPr>
          <p:cNvPr id="19" name="Picture 18" descr="A computer with a dashboard on it&#10;&#10;AI-generated content may be incorrect.">
            <a:extLst>
              <a:ext uri="{FF2B5EF4-FFF2-40B4-BE49-F238E27FC236}">
                <a16:creationId xmlns:a16="http://schemas.microsoft.com/office/drawing/2014/main" id="{DE50DDA0-C7E8-C739-3ADA-09DAF52F19E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6354" y="3703826"/>
            <a:ext cx="2958539" cy="2192171"/>
          </a:xfrm>
          <a:prstGeom prst="rect">
            <a:avLst/>
          </a:prstGeom>
        </p:spPr>
      </p:pic>
      <p:sp>
        <p:nvSpPr>
          <p:cNvPr id="25" name="TextBox 24">
            <a:extLst>
              <a:ext uri="{FF2B5EF4-FFF2-40B4-BE49-F238E27FC236}">
                <a16:creationId xmlns:a16="http://schemas.microsoft.com/office/drawing/2014/main" id="{5D9D7616-7A64-006C-5B58-025B116A042E}"/>
              </a:ext>
            </a:extLst>
          </p:cNvPr>
          <p:cNvSpPr txBox="1"/>
          <p:nvPr/>
        </p:nvSpPr>
        <p:spPr>
          <a:xfrm>
            <a:off x="4976252" y="2591518"/>
            <a:ext cx="6509811" cy="698717"/>
          </a:xfrm>
          <a:prstGeom prst="rect">
            <a:avLst/>
          </a:prstGeom>
          <a:noFill/>
        </p:spPr>
        <p:txBody>
          <a:bodyPr wrap="square">
            <a:spAutoFit/>
          </a:bodyPr>
          <a:lstStyle/>
          <a:p>
            <a:pPr marL="0" indent="0">
              <a:lnSpc>
                <a:spcPct val="150000"/>
              </a:lnSpc>
              <a:spcAft>
                <a:spcPts val="0"/>
              </a:spcAft>
              <a:buNone/>
            </a:pPr>
            <a:r>
              <a:rPr kumimoji="0" lang="en-US" sz="1400" b="0" i="0" u="none" strike="noStrike" kern="1200" cap="none" spc="0" normalizeH="0" baseline="0" noProof="0">
                <a:ln>
                  <a:noFill/>
                </a:ln>
                <a:solidFill>
                  <a:prstClr val="black"/>
                </a:solidFill>
                <a:effectLst/>
                <a:uLnTx/>
                <a:uFillTx/>
                <a:latin typeface="Arial"/>
                <a:ea typeface="+mn-ea"/>
                <a:cs typeface="+mn-cs"/>
              </a:rPr>
              <a:t>New Forge Gateway | </a:t>
            </a:r>
            <a:r>
              <a:rPr kumimoji="0" lang="en-GB" sz="1400" i="0" u="none" strike="noStrike" kern="1200" cap="none" spc="0" normalizeH="0" baseline="0" noProof="0">
                <a:ln>
                  <a:noFill/>
                </a:ln>
                <a:solidFill>
                  <a:prstClr val="black"/>
                </a:solidFill>
                <a:effectLst/>
                <a:uLnTx/>
                <a:uFillTx/>
                <a:latin typeface="Arial"/>
                <a:ea typeface="+mn-ea"/>
                <a:cs typeface="+mn-cs"/>
              </a:rPr>
              <a:t>Simplified IT Config | Remote Connectivity </a:t>
            </a:r>
            <a:r>
              <a:rPr lang="en-US" sz="1400">
                <a:solidFill>
                  <a:prstClr val="black"/>
                </a:solidFill>
                <a:latin typeface="Arial"/>
              </a:rPr>
              <a:t>| Access to Device Information | Automatic Niagara Cloud Driver Licensing </a:t>
            </a:r>
            <a:endParaRPr lang="en-US" sz="1800">
              <a:solidFill>
                <a:prstClr val="black"/>
              </a:solidFill>
              <a:latin typeface="Arial"/>
            </a:endParaRPr>
          </a:p>
        </p:txBody>
      </p:sp>
      <p:sp>
        <p:nvSpPr>
          <p:cNvPr id="5" name="Oval 4">
            <a:extLst>
              <a:ext uri="{FF2B5EF4-FFF2-40B4-BE49-F238E27FC236}">
                <a16:creationId xmlns:a16="http://schemas.microsoft.com/office/drawing/2014/main" id="{C5CC9DAD-B8EC-AFF2-1F4D-E7C304185D6C}"/>
              </a:ext>
            </a:extLst>
          </p:cNvPr>
          <p:cNvSpPr/>
          <p:nvPr/>
        </p:nvSpPr>
        <p:spPr>
          <a:xfrm rot="5400000">
            <a:off x="3942533" y="2058197"/>
            <a:ext cx="722195" cy="7222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21" name="Oval 20">
            <a:extLst>
              <a:ext uri="{FF2B5EF4-FFF2-40B4-BE49-F238E27FC236}">
                <a16:creationId xmlns:a16="http://schemas.microsoft.com/office/drawing/2014/main" id="{376A0356-9578-0F2F-A2FB-3024AF1ADD69}"/>
              </a:ext>
            </a:extLst>
          </p:cNvPr>
          <p:cNvSpPr/>
          <p:nvPr/>
        </p:nvSpPr>
        <p:spPr>
          <a:xfrm rot="5400000">
            <a:off x="3942533" y="3586974"/>
            <a:ext cx="722195" cy="7222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23" name="Oval 22">
            <a:extLst>
              <a:ext uri="{FF2B5EF4-FFF2-40B4-BE49-F238E27FC236}">
                <a16:creationId xmlns:a16="http://schemas.microsoft.com/office/drawing/2014/main" id="{662DC7BF-A7D9-76A0-1DB2-425A74803BC9}"/>
              </a:ext>
            </a:extLst>
          </p:cNvPr>
          <p:cNvSpPr/>
          <p:nvPr/>
        </p:nvSpPr>
        <p:spPr>
          <a:xfrm rot="5400000">
            <a:off x="3942533" y="5115751"/>
            <a:ext cx="722195" cy="7222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pic>
        <p:nvPicPr>
          <p:cNvPr id="26" name="Graphic 25" descr="Checkmark with solid fill">
            <a:extLst>
              <a:ext uri="{FF2B5EF4-FFF2-40B4-BE49-F238E27FC236}">
                <a16:creationId xmlns:a16="http://schemas.microsoft.com/office/drawing/2014/main" id="{824BB5FA-9DC1-847F-AAC2-06C28336FC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42661" y="2189190"/>
            <a:ext cx="520846" cy="520846"/>
          </a:xfrm>
          <a:prstGeom prst="rect">
            <a:avLst/>
          </a:prstGeom>
        </p:spPr>
      </p:pic>
      <p:pic>
        <p:nvPicPr>
          <p:cNvPr id="32" name="Graphic 31" descr="Checkmark with solid fill">
            <a:extLst>
              <a:ext uri="{FF2B5EF4-FFF2-40B4-BE49-F238E27FC236}">
                <a16:creationId xmlns:a16="http://schemas.microsoft.com/office/drawing/2014/main" id="{0C9EFC58-FB90-0B59-6FD9-B117475B28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39941" y="3687184"/>
            <a:ext cx="520846" cy="520846"/>
          </a:xfrm>
          <a:prstGeom prst="rect">
            <a:avLst/>
          </a:prstGeom>
        </p:spPr>
      </p:pic>
      <p:pic>
        <p:nvPicPr>
          <p:cNvPr id="34" name="Graphic 33" descr="Checkmark with solid fill">
            <a:extLst>
              <a:ext uri="{FF2B5EF4-FFF2-40B4-BE49-F238E27FC236}">
                <a16:creationId xmlns:a16="http://schemas.microsoft.com/office/drawing/2014/main" id="{2C2647D2-B9A1-7BBD-9F8F-6C98601EFE8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39941" y="5235642"/>
            <a:ext cx="520846" cy="520846"/>
          </a:xfrm>
          <a:prstGeom prst="rect">
            <a:avLst/>
          </a:prstGeom>
        </p:spPr>
      </p:pic>
    </p:spTree>
    <p:extLst>
      <p:ext uri="{BB962C8B-B14F-4D97-AF65-F5344CB8AC3E}">
        <p14:creationId xmlns:p14="http://schemas.microsoft.com/office/powerpoint/2010/main" val="2395554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20000" decel="8000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6" presetClass="entr" presetSubtype="37" fill="hold" grpId="0" nodeType="after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barn(outVertical)">
                                      <p:cBhvr>
                                        <p:cTn id="12" dur="500"/>
                                        <p:tgtEl>
                                          <p:spTgt spid="42"/>
                                        </p:tgtEl>
                                      </p:cBhvr>
                                    </p:animEffect>
                                  </p:childTnLst>
                                </p:cTn>
                              </p:par>
                              <p:par>
                                <p:cTn id="13" presetID="2" presetClass="entr" presetSubtype="2" accel="20000" decel="8000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additive="base">
                                        <p:cTn id="15" dur="500" fill="hold"/>
                                        <p:tgtEl>
                                          <p:spTgt spid="49"/>
                                        </p:tgtEl>
                                        <p:attrNameLst>
                                          <p:attrName>ppt_x</p:attrName>
                                        </p:attrNameLst>
                                      </p:cBhvr>
                                      <p:tavLst>
                                        <p:tav tm="0">
                                          <p:val>
                                            <p:strVal val="1+#ppt_w/2"/>
                                          </p:val>
                                        </p:tav>
                                        <p:tav tm="100000">
                                          <p:val>
                                            <p:strVal val="#ppt_x"/>
                                          </p:val>
                                        </p:tav>
                                      </p:tavLst>
                                    </p:anim>
                                    <p:anim calcmode="lin" valueType="num">
                                      <p:cBhvr additive="base">
                                        <p:cTn id="16" dur="500" fill="hold"/>
                                        <p:tgtEl>
                                          <p:spTgt spid="49"/>
                                        </p:tgtEl>
                                        <p:attrNameLst>
                                          <p:attrName>ppt_y</p:attrName>
                                        </p:attrNameLst>
                                      </p:cBhvr>
                                      <p:tavLst>
                                        <p:tav tm="0">
                                          <p:val>
                                            <p:strVal val="#ppt_y"/>
                                          </p:val>
                                        </p:tav>
                                        <p:tav tm="100000">
                                          <p:val>
                                            <p:strVal val="#ppt_y"/>
                                          </p:val>
                                        </p:tav>
                                      </p:tavLst>
                                    </p:anim>
                                  </p:childTnLst>
                                </p:cTn>
                              </p:par>
                              <p:par>
                                <p:cTn id="17" presetID="2" presetClass="entr" presetSubtype="2" accel="20000" decel="80000" fill="hold" grpId="0" nodeType="withEffect">
                                  <p:stCondLst>
                                    <p:cond delay="0"/>
                                  </p:stCondLst>
                                  <p:childTnLst>
                                    <p:set>
                                      <p:cBhvr>
                                        <p:cTn id="18" dur="1" fill="hold">
                                          <p:stCondLst>
                                            <p:cond delay="0"/>
                                          </p:stCondLst>
                                        </p:cTn>
                                        <p:tgtEl>
                                          <p:spTgt spid="51"/>
                                        </p:tgtEl>
                                        <p:attrNameLst>
                                          <p:attrName>style.visibility</p:attrName>
                                        </p:attrNameLst>
                                      </p:cBhvr>
                                      <p:to>
                                        <p:strVal val="visible"/>
                                      </p:to>
                                    </p:set>
                                    <p:anim calcmode="lin" valueType="num">
                                      <p:cBhvr additive="base">
                                        <p:cTn id="19" dur="500" fill="hold"/>
                                        <p:tgtEl>
                                          <p:spTgt spid="51"/>
                                        </p:tgtEl>
                                        <p:attrNameLst>
                                          <p:attrName>ppt_x</p:attrName>
                                        </p:attrNameLst>
                                      </p:cBhvr>
                                      <p:tavLst>
                                        <p:tav tm="0">
                                          <p:val>
                                            <p:strVal val="1+#ppt_w/2"/>
                                          </p:val>
                                        </p:tav>
                                        <p:tav tm="100000">
                                          <p:val>
                                            <p:strVal val="#ppt_x"/>
                                          </p:val>
                                        </p:tav>
                                      </p:tavLst>
                                    </p:anim>
                                    <p:anim calcmode="lin" valueType="num">
                                      <p:cBhvr additive="base">
                                        <p:cTn id="20" dur="500" fill="hold"/>
                                        <p:tgtEl>
                                          <p:spTgt spid="51"/>
                                        </p:tgtEl>
                                        <p:attrNameLst>
                                          <p:attrName>ppt_y</p:attrName>
                                        </p:attrNameLst>
                                      </p:cBhvr>
                                      <p:tavLst>
                                        <p:tav tm="0">
                                          <p:val>
                                            <p:strVal val="#ppt_y"/>
                                          </p:val>
                                        </p:tav>
                                        <p:tav tm="100000">
                                          <p:val>
                                            <p:strVal val="#ppt_y"/>
                                          </p:val>
                                        </p:tav>
                                      </p:tavLst>
                                    </p:anim>
                                  </p:childTnLst>
                                </p:cTn>
                              </p:par>
                              <p:par>
                                <p:cTn id="21" presetID="2" presetClass="entr" presetSubtype="2" accel="20000" decel="80000" fill="hold" grpId="0" nodeType="with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additive="base">
                                        <p:cTn id="23" dur="500" fill="hold"/>
                                        <p:tgtEl>
                                          <p:spTgt spid="60"/>
                                        </p:tgtEl>
                                        <p:attrNameLst>
                                          <p:attrName>ppt_x</p:attrName>
                                        </p:attrNameLst>
                                      </p:cBhvr>
                                      <p:tavLst>
                                        <p:tav tm="0">
                                          <p:val>
                                            <p:strVal val="1+#ppt_w/2"/>
                                          </p:val>
                                        </p:tav>
                                        <p:tav tm="100000">
                                          <p:val>
                                            <p:strVal val="#ppt_x"/>
                                          </p:val>
                                        </p:tav>
                                      </p:tavLst>
                                    </p:anim>
                                    <p:anim calcmode="lin" valueType="num">
                                      <p:cBhvr additive="base">
                                        <p:cTn id="24" dur="500" fill="hold"/>
                                        <p:tgtEl>
                                          <p:spTgt spid="60"/>
                                        </p:tgtEl>
                                        <p:attrNameLst>
                                          <p:attrName>ppt_y</p:attrName>
                                        </p:attrNameLst>
                                      </p:cBhvr>
                                      <p:tavLst>
                                        <p:tav tm="0">
                                          <p:val>
                                            <p:strVal val="#ppt_y"/>
                                          </p:val>
                                        </p:tav>
                                        <p:tav tm="100000">
                                          <p:val>
                                            <p:strVal val="#ppt_y"/>
                                          </p:val>
                                        </p:tav>
                                      </p:tavLst>
                                    </p:anim>
                                  </p:childTnLst>
                                </p:cTn>
                              </p:par>
                            </p:childTnLst>
                          </p:cTn>
                        </p:par>
                        <p:par>
                          <p:cTn id="25" fill="hold">
                            <p:stCondLst>
                              <p:cond delay="1000"/>
                            </p:stCondLst>
                            <p:childTnLst>
                              <p:par>
                                <p:cTn id="26" presetID="45" presetClass="entr" presetSubtype="0" fill="hold" grpId="0" nodeType="after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750"/>
                                        <p:tgtEl>
                                          <p:spTgt spid="5"/>
                                        </p:tgtEl>
                                      </p:cBhvr>
                                    </p:animEffect>
                                    <p:anim calcmode="lin" valueType="num">
                                      <p:cBhvr>
                                        <p:cTn id="29" dur="750" fill="hold"/>
                                        <p:tgtEl>
                                          <p:spTgt spid="5"/>
                                        </p:tgtEl>
                                        <p:attrNameLst>
                                          <p:attrName>ppt_w</p:attrName>
                                        </p:attrNameLst>
                                      </p:cBhvr>
                                      <p:tavLst>
                                        <p:tav tm="0" fmla="#ppt_w*sin(2.5*pi*$)">
                                          <p:val>
                                            <p:fltVal val="0"/>
                                          </p:val>
                                        </p:tav>
                                        <p:tav tm="100000">
                                          <p:val>
                                            <p:fltVal val="1"/>
                                          </p:val>
                                        </p:tav>
                                      </p:tavLst>
                                    </p:anim>
                                    <p:anim calcmode="lin" valueType="num">
                                      <p:cBhvr>
                                        <p:cTn id="30" dur="750" fill="hold"/>
                                        <p:tgtEl>
                                          <p:spTgt spid="5"/>
                                        </p:tgtEl>
                                        <p:attrNameLst>
                                          <p:attrName>ppt_h</p:attrName>
                                        </p:attrNameLst>
                                      </p:cBhvr>
                                      <p:tavLst>
                                        <p:tav tm="0">
                                          <p:val>
                                            <p:strVal val="#ppt_h"/>
                                          </p:val>
                                        </p:tav>
                                        <p:tav tm="100000">
                                          <p:val>
                                            <p:strVal val="#ppt_h"/>
                                          </p:val>
                                        </p:tav>
                                      </p:tavLst>
                                    </p:anim>
                                  </p:childTnLst>
                                </p:cTn>
                              </p:par>
                            </p:childTnLst>
                          </p:cTn>
                        </p:par>
                        <p:par>
                          <p:cTn id="31" fill="hold">
                            <p:stCondLst>
                              <p:cond delay="1750"/>
                            </p:stCondLst>
                            <p:childTnLst>
                              <p:par>
                                <p:cTn id="32" presetID="45" presetClass="entr" presetSubtype="0" fill="hold" grpId="0" nodeType="after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750"/>
                                        <p:tgtEl>
                                          <p:spTgt spid="21"/>
                                        </p:tgtEl>
                                      </p:cBhvr>
                                    </p:animEffect>
                                    <p:anim calcmode="lin" valueType="num">
                                      <p:cBhvr>
                                        <p:cTn id="35" dur="750" fill="hold"/>
                                        <p:tgtEl>
                                          <p:spTgt spid="21"/>
                                        </p:tgtEl>
                                        <p:attrNameLst>
                                          <p:attrName>ppt_w</p:attrName>
                                        </p:attrNameLst>
                                      </p:cBhvr>
                                      <p:tavLst>
                                        <p:tav tm="0" fmla="#ppt_w*sin(2.5*pi*$)">
                                          <p:val>
                                            <p:fltVal val="0"/>
                                          </p:val>
                                        </p:tav>
                                        <p:tav tm="100000">
                                          <p:val>
                                            <p:fltVal val="1"/>
                                          </p:val>
                                        </p:tav>
                                      </p:tavLst>
                                    </p:anim>
                                    <p:anim calcmode="lin" valueType="num">
                                      <p:cBhvr>
                                        <p:cTn id="36" dur="750" fill="hold"/>
                                        <p:tgtEl>
                                          <p:spTgt spid="21"/>
                                        </p:tgtEl>
                                        <p:attrNameLst>
                                          <p:attrName>ppt_h</p:attrName>
                                        </p:attrNameLst>
                                      </p:cBhvr>
                                      <p:tavLst>
                                        <p:tav tm="0">
                                          <p:val>
                                            <p:strVal val="#ppt_h"/>
                                          </p:val>
                                        </p:tav>
                                        <p:tav tm="100000">
                                          <p:val>
                                            <p:strVal val="#ppt_h"/>
                                          </p:val>
                                        </p:tav>
                                      </p:tavLst>
                                    </p:anim>
                                  </p:childTnLst>
                                </p:cTn>
                              </p:par>
                            </p:childTnLst>
                          </p:cTn>
                        </p:par>
                        <p:par>
                          <p:cTn id="37" fill="hold">
                            <p:stCondLst>
                              <p:cond delay="2500"/>
                            </p:stCondLst>
                            <p:childTnLst>
                              <p:par>
                                <p:cTn id="38" presetID="45"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750"/>
                                        <p:tgtEl>
                                          <p:spTgt spid="23"/>
                                        </p:tgtEl>
                                      </p:cBhvr>
                                    </p:animEffect>
                                    <p:anim calcmode="lin" valueType="num">
                                      <p:cBhvr>
                                        <p:cTn id="41" dur="750" fill="hold"/>
                                        <p:tgtEl>
                                          <p:spTgt spid="23"/>
                                        </p:tgtEl>
                                        <p:attrNameLst>
                                          <p:attrName>ppt_w</p:attrName>
                                        </p:attrNameLst>
                                      </p:cBhvr>
                                      <p:tavLst>
                                        <p:tav tm="0" fmla="#ppt_w*sin(2.5*pi*$)">
                                          <p:val>
                                            <p:fltVal val="0"/>
                                          </p:val>
                                        </p:tav>
                                        <p:tav tm="100000">
                                          <p:val>
                                            <p:fltVal val="1"/>
                                          </p:val>
                                        </p:tav>
                                      </p:tavLst>
                                    </p:anim>
                                    <p:anim calcmode="lin" valueType="num">
                                      <p:cBhvr>
                                        <p:cTn id="42" dur="750" fill="hold"/>
                                        <p:tgtEl>
                                          <p:spTgt spid="23"/>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2" grpId="0"/>
      <p:bldP spid="49" grpId="0"/>
      <p:bldP spid="51" grpId="0"/>
      <p:bldP spid="60" grpId="0"/>
      <p:bldP spid="5" grpId="0" animBg="1"/>
      <p:bldP spid="21" grpId="0" animBg="1"/>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2C8B6F2-3C22-0A45-C600-EEF101AA166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010D8CC-CCE6-5B07-63EA-1A7618773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4010D8CC-CCE6-5B07-63EA-1A76187738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0881928-6810-17AA-807A-9954620CA9C0}"/>
              </a:ext>
            </a:extLst>
          </p:cNvPr>
          <p:cNvSpPr>
            <a:spLocks noGrp="1"/>
          </p:cNvSpPr>
          <p:nvPr>
            <p:ph type="title"/>
          </p:nvPr>
        </p:nvSpPr>
        <p:spPr>
          <a:xfrm>
            <a:off x="279828" y="77632"/>
            <a:ext cx="5816171" cy="697883"/>
          </a:xfrm>
        </p:spPr>
        <p:txBody>
          <a:bodyPr vert="horz"/>
          <a:lstStyle/>
          <a:p>
            <a:r>
              <a:rPr kumimoji="0" lang="en-US" sz="2800" b="0" i="0" u="none" strike="noStrike" kern="1200" cap="all" spc="-150" normalizeH="0" baseline="0" noProof="0">
                <a:ln>
                  <a:noFill/>
                </a:ln>
                <a:solidFill>
                  <a:srgbClr val="000000"/>
                </a:solidFill>
                <a:effectLst/>
                <a:uLnTx/>
                <a:uFillTx/>
                <a:latin typeface="+mj-lt"/>
                <a:ea typeface="+mj-ea"/>
                <a:cs typeface="+mj-cs"/>
              </a:rPr>
              <a:t>TIERED Software</a:t>
            </a:r>
            <a:r>
              <a:rPr lang="en-US" sz="2800" spc="-150">
                <a:solidFill>
                  <a:srgbClr val="000000"/>
                </a:solidFill>
              </a:rPr>
              <a:t> PACKAGES</a:t>
            </a:r>
            <a:br>
              <a:rPr kumimoji="0" lang="en-US" sz="2800" b="0" i="0" u="none" strike="noStrike" kern="1200" cap="all" spc="-150" normalizeH="0" baseline="0" noProof="0">
                <a:ln>
                  <a:noFill/>
                </a:ln>
                <a:solidFill>
                  <a:srgbClr val="000000"/>
                </a:solidFill>
                <a:effectLst/>
                <a:uLnTx/>
                <a:uFillTx/>
                <a:latin typeface="+mj-lt"/>
                <a:ea typeface="+mj-ea"/>
                <a:cs typeface="+mj-cs"/>
              </a:rPr>
            </a:br>
            <a:endParaRPr lang="en-US" sz="2800">
              <a:solidFill>
                <a:srgbClr val="000000"/>
              </a:solidFill>
            </a:endParaRPr>
          </a:p>
        </p:txBody>
      </p:sp>
      <p:sp>
        <p:nvSpPr>
          <p:cNvPr id="4" name="Slide Number Placeholder 3">
            <a:extLst>
              <a:ext uri="{FF2B5EF4-FFF2-40B4-BE49-F238E27FC236}">
                <a16:creationId xmlns:a16="http://schemas.microsoft.com/office/drawing/2014/main" id="{2F5BBC00-0EBA-6F05-FEB1-01AABDC977D7}"/>
              </a:ext>
            </a:extLst>
          </p:cNvPr>
          <p:cNvSpPr>
            <a:spLocks noGrp="1"/>
          </p:cNvSpPr>
          <p:nvPr>
            <p:ph type="sldNum" sz="quarter" idx="12"/>
          </p:nvPr>
        </p:nvSpPr>
        <p:spPr>
          <a:xfrm>
            <a:off x="11124693" y="6405102"/>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graphicFrame>
        <p:nvGraphicFramePr>
          <p:cNvPr id="2" name="Table 1">
            <a:extLst>
              <a:ext uri="{FF2B5EF4-FFF2-40B4-BE49-F238E27FC236}">
                <a16:creationId xmlns:a16="http://schemas.microsoft.com/office/drawing/2014/main" id="{536A2B4C-478F-82A1-0D89-40973D37FF8F}"/>
              </a:ext>
            </a:extLst>
          </p:cNvPr>
          <p:cNvGraphicFramePr>
            <a:graphicFrameLocks noGrp="1"/>
          </p:cNvGraphicFramePr>
          <p:nvPr>
            <p:extLst>
              <p:ext uri="{D42A27DB-BD31-4B8C-83A1-F6EECF244321}">
                <p14:modId xmlns:p14="http://schemas.microsoft.com/office/powerpoint/2010/main" val="3246774552"/>
              </p:ext>
            </p:extLst>
          </p:nvPr>
        </p:nvGraphicFramePr>
        <p:xfrm>
          <a:off x="318408" y="407100"/>
          <a:ext cx="11555183" cy="6317280"/>
        </p:xfrm>
        <a:graphic>
          <a:graphicData uri="http://schemas.openxmlformats.org/drawingml/2006/table">
            <a:tbl>
              <a:tblPr firstRow="1" bandRow="1">
                <a:tableStyleId>{68D230F3-CF80-4859-8CE7-A43EE81993B5}</a:tableStyleId>
              </a:tblPr>
              <a:tblGrid>
                <a:gridCol w="2188175">
                  <a:extLst>
                    <a:ext uri="{9D8B030D-6E8A-4147-A177-3AD203B41FA5}">
                      <a16:colId xmlns:a16="http://schemas.microsoft.com/office/drawing/2014/main" val="175906762"/>
                    </a:ext>
                  </a:extLst>
                </a:gridCol>
                <a:gridCol w="1312031">
                  <a:extLst>
                    <a:ext uri="{9D8B030D-6E8A-4147-A177-3AD203B41FA5}">
                      <a16:colId xmlns:a16="http://schemas.microsoft.com/office/drawing/2014/main" val="3561486414"/>
                    </a:ext>
                  </a:extLst>
                </a:gridCol>
                <a:gridCol w="3223784">
                  <a:extLst>
                    <a:ext uri="{9D8B030D-6E8A-4147-A177-3AD203B41FA5}">
                      <a16:colId xmlns:a16="http://schemas.microsoft.com/office/drawing/2014/main" val="17937821"/>
                    </a:ext>
                  </a:extLst>
                </a:gridCol>
                <a:gridCol w="1692166">
                  <a:extLst>
                    <a:ext uri="{9D8B030D-6E8A-4147-A177-3AD203B41FA5}">
                      <a16:colId xmlns:a16="http://schemas.microsoft.com/office/drawing/2014/main" val="1206030753"/>
                    </a:ext>
                  </a:extLst>
                </a:gridCol>
                <a:gridCol w="3139027">
                  <a:extLst>
                    <a:ext uri="{9D8B030D-6E8A-4147-A177-3AD203B41FA5}">
                      <a16:colId xmlns:a16="http://schemas.microsoft.com/office/drawing/2014/main" val="1458864747"/>
                    </a:ext>
                  </a:extLst>
                </a:gridCol>
              </a:tblGrid>
              <a:tr h="296383">
                <a:tc>
                  <a:txBody>
                    <a:bodyPr/>
                    <a:lstStyle/>
                    <a:p>
                      <a:pPr marL="0" lvl="0" indent="0" algn="l" defTabSz="914400">
                        <a:lnSpc>
                          <a:spcPct val="100000"/>
                        </a:lnSpc>
                        <a:spcBef>
                          <a:spcPts val="0"/>
                        </a:spcBef>
                        <a:spcAft>
                          <a:spcPts val="0"/>
                        </a:spcAft>
                        <a:buNone/>
                        <a:tabLst/>
                        <a:defRPr/>
                      </a:pPr>
                      <a:r>
                        <a:rPr kumimoji="0" lang="en-US" sz="1400" b="1" i="0" u="none" strike="noStrike" kern="1200" cap="none" spc="0" normalizeH="0" baseline="0" noProof="0">
                          <a:ln>
                            <a:noFill/>
                          </a:ln>
                          <a:solidFill>
                            <a:schemeClr val="bg1"/>
                          </a:solidFill>
                          <a:effectLst/>
                          <a:uLnTx/>
                          <a:uFillTx/>
                          <a:latin typeface="Arial"/>
                          <a:ea typeface="+mn-ea"/>
                          <a:cs typeface="+mn-cs"/>
                        </a:rPr>
                        <a:t>PACKAGE</a:t>
                      </a:r>
                    </a:p>
                  </a:txBody>
                  <a:tcPr anchor="ctr">
                    <a:lnL w="6350">
                      <a:solidFill>
                        <a:schemeClr val="bg2"/>
                      </a:solidFill>
                    </a:lnL>
                    <a:lnR w="6350">
                      <a:solidFill>
                        <a:schemeClr val="bg2"/>
                      </a:solidFill>
                    </a:lnR>
                    <a:lnT w="6350">
                      <a:solidFill>
                        <a:schemeClr val="bg2"/>
                      </a:solidFill>
                    </a:lnT>
                    <a:lnB w="6350">
                      <a:solidFill>
                        <a:schemeClr val="bg2"/>
                      </a:solidFill>
                    </a:lnB>
                    <a:solidFill>
                      <a:schemeClr val="tx1"/>
                    </a:solidFill>
                  </a:tcPr>
                </a:tc>
                <a:tc>
                  <a:txBody>
                    <a:bodyPr/>
                    <a:lstStyle/>
                    <a:p>
                      <a:pPr lvl="0">
                        <a:lnSpc>
                          <a:spcPct val="100000"/>
                        </a:lnSpc>
                        <a:buNone/>
                      </a:pPr>
                      <a:r>
                        <a:rPr lang="en-US" sz="1400" b="1">
                          <a:solidFill>
                            <a:schemeClr val="bg1"/>
                          </a:solidFill>
                          <a:latin typeface="Arial"/>
                        </a:rPr>
                        <a:t>TYPE</a:t>
                      </a:r>
                    </a:p>
                  </a:txBody>
                  <a:tcPr anchor="ctr">
                    <a:lnL w="6350">
                      <a:solidFill>
                        <a:schemeClr val="bg2"/>
                      </a:solidFill>
                    </a:lnL>
                    <a:lnR w="6350">
                      <a:solidFill>
                        <a:schemeClr val="bg2"/>
                      </a:solidFill>
                    </a:lnR>
                    <a:lnT w="6350">
                      <a:solidFill>
                        <a:schemeClr val="bg2"/>
                      </a:solidFill>
                    </a:lnT>
                    <a:lnB w="6350">
                      <a:solidFill>
                        <a:schemeClr val="bg2"/>
                      </a:solidFill>
                    </a:lnB>
                    <a:solidFill>
                      <a:schemeClr val="tx1"/>
                    </a:solidFill>
                  </a:tcPr>
                </a:tc>
                <a:tc>
                  <a:txBody>
                    <a:bodyPr/>
                    <a:lstStyle/>
                    <a:p>
                      <a:pPr marL="0" lvl="0" indent="0" algn="l" defTabSz="914400">
                        <a:lnSpc>
                          <a:spcPct val="100000"/>
                        </a:lnSpc>
                        <a:spcBef>
                          <a:spcPts val="0"/>
                        </a:spcBef>
                        <a:spcAft>
                          <a:spcPts val="0"/>
                        </a:spcAft>
                        <a:buNone/>
                        <a:defRPr/>
                      </a:pPr>
                      <a:r>
                        <a:rPr lang="en-US" sz="1400" b="1" i="0" u="none" strike="noStrike" kern="1200" cap="none" spc="0" normalizeH="0" baseline="0" noProof="0">
                          <a:ln>
                            <a:noFill/>
                          </a:ln>
                          <a:solidFill>
                            <a:schemeClr val="bg1"/>
                          </a:solidFill>
                          <a:effectLst/>
                          <a:uLnTx/>
                          <a:uFillTx/>
                          <a:latin typeface="Arial"/>
                          <a:ea typeface="+mn-ea"/>
                          <a:cs typeface="Arial"/>
                        </a:rPr>
                        <a:t>APPLICATIONS</a:t>
                      </a:r>
                    </a:p>
                  </a:txBody>
                  <a:tcPr anchor="ctr">
                    <a:lnL w="6350">
                      <a:solidFill>
                        <a:schemeClr val="bg2"/>
                      </a:solidFill>
                    </a:lnL>
                    <a:lnR w="6350">
                      <a:solidFill>
                        <a:schemeClr val="bg2"/>
                      </a:solidFill>
                    </a:lnR>
                    <a:lnT w="6350">
                      <a:solidFill>
                        <a:schemeClr val="bg2"/>
                      </a:solidFill>
                    </a:lnT>
                    <a:lnB w="6350">
                      <a:solidFill>
                        <a:schemeClr val="bg2"/>
                      </a:solidFill>
                    </a:lnB>
                    <a:solidFill>
                      <a:schemeClr val="tx1"/>
                    </a:solidFill>
                  </a:tcPr>
                </a:tc>
                <a:tc>
                  <a:txBody>
                    <a:bodyPr/>
                    <a:lstStyle/>
                    <a:p>
                      <a:pPr marL="0" lvl="0" indent="0" algn="l" defTabSz="914400">
                        <a:lnSpc>
                          <a:spcPct val="100000"/>
                        </a:lnSpc>
                        <a:spcBef>
                          <a:spcPts val="0"/>
                        </a:spcBef>
                        <a:spcAft>
                          <a:spcPts val="0"/>
                        </a:spcAft>
                        <a:buNone/>
                        <a:tabLst/>
                        <a:defRPr/>
                      </a:pPr>
                      <a:r>
                        <a:rPr lang="en-US" sz="1400" b="1" kern="1200">
                          <a:solidFill>
                            <a:schemeClr val="bg1"/>
                          </a:solidFill>
                          <a:effectLst/>
                          <a:latin typeface="Arial"/>
                          <a:ea typeface="+mn-ea"/>
                          <a:cs typeface="+mn-cs"/>
                        </a:rPr>
                        <a:t>SKUs </a:t>
                      </a:r>
                    </a:p>
                  </a:txBody>
                  <a:tcPr anchor="ctr">
                    <a:lnL w="6350">
                      <a:solidFill>
                        <a:schemeClr val="bg2"/>
                      </a:solidFill>
                    </a:lnL>
                    <a:lnR w="6350" cap="flat" cmpd="sng" algn="ctr">
                      <a:solidFill>
                        <a:schemeClr val="bg2"/>
                      </a:solidFill>
                      <a:prstDash val="solid"/>
                      <a:round/>
                      <a:headEnd type="none" w="med" len="med"/>
                      <a:tailEnd type="none" w="med" len="med"/>
                    </a:lnR>
                    <a:lnT w="6350">
                      <a:solidFill>
                        <a:schemeClr val="bg2"/>
                      </a:solidFill>
                    </a:lnT>
                    <a:lnB w="6350">
                      <a:solidFill>
                        <a:schemeClr val="bg2"/>
                      </a:solidFill>
                    </a:lnB>
                    <a:solidFill>
                      <a:schemeClr val="tx1"/>
                    </a:solidFill>
                  </a:tcPr>
                </a:tc>
                <a:tc>
                  <a:txBody>
                    <a:bodyPr/>
                    <a:lstStyle/>
                    <a:p>
                      <a:pPr marL="0" lvl="0" indent="0" algn="l" defTabSz="914400">
                        <a:lnSpc>
                          <a:spcPct val="100000"/>
                        </a:lnSpc>
                        <a:spcBef>
                          <a:spcPts val="0"/>
                        </a:spcBef>
                        <a:spcAft>
                          <a:spcPts val="0"/>
                        </a:spcAft>
                        <a:buNone/>
                        <a:tabLst/>
                        <a:defRPr/>
                      </a:pPr>
                      <a:r>
                        <a:rPr lang="en-US" sz="1400" b="1" kern="1200">
                          <a:solidFill>
                            <a:schemeClr val="bg1"/>
                          </a:solidFill>
                          <a:effectLst/>
                          <a:latin typeface="Arial"/>
                          <a:ea typeface="+mn-ea"/>
                          <a:cs typeface="+mn-cs"/>
                        </a:rPr>
                        <a:t>DESCRIPTIONS</a:t>
                      </a:r>
                    </a:p>
                  </a:txBody>
                  <a:tcPr anchor="ctr">
                    <a:lnL w="6350">
                      <a:solidFill>
                        <a:schemeClr val="bg2"/>
                      </a:solidFill>
                    </a:lnL>
                    <a:lnR w="6350">
                      <a:solidFill>
                        <a:schemeClr val="bg2"/>
                      </a:solidFill>
                    </a:lnR>
                    <a:lnT w="6350">
                      <a:solidFill>
                        <a:schemeClr val="bg2"/>
                      </a:solidFill>
                    </a:lnT>
                    <a:lnB w="6350" cap="flat" cmpd="sng" algn="ctr">
                      <a:solidFill>
                        <a:schemeClr val="bg2"/>
                      </a:solidFill>
                      <a:prstDash val="solid"/>
                      <a:round/>
                      <a:headEnd type="none" w="med" len="med"/>
                      <a:tailEnd type="none" w="med" len="med"/>
                    </a:lnB>
                    <a:solidFill>
                      <a:schemeClr val="tx1"/>
                    </a:solidFill>
                  </a:tcPr>
                </a:tc>
                <a:extLst>
                  <a:ext uri="{0D108BD9-81ED-4DB2-BD59-A6C34878D82A}">
                    <a16:rowId xmlns:a16="http://schemas.microsoft.com/office/drawing/2014/main" val="1570710642"/>
                  </a:ext>
                </a:extLst>
              </a:tr>
              <a:tr h="192648">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a:rPr>
                        <a:t>Remote Buil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Manager</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a:solidFill>
                        <a:schemeClr val="bg2"/>
                      </a:solidFill>
                    </a:lnT>
                    <a:lnB w="6350" cap="flat" cmpd="sng" algn="ctr">
                      <a:solidFill>
                        <a:schemeClr val="bg2"/>
                      </a:solidFill>
                      <a:prstDash val="solid"/>
                      <a:round/>
                      <a:headEnd type="none" w="med" len="med"/>
                      <a:tailEnd type="none" w="med" len="med"/>
                    </a:lnB>
                    <a:solidFill>
                      <a:schemeClr val="bg1">
                        <a:lumMod val="95000"/>
                      </a:schemeClr>
                    </a:solidFill>
                  </a:tcPr>
                </a:tc>
                <a:tc rowSpan="5">
                  <a:txBody>
                    <a:bodyPr/>
                    <a:lstStyle/>
                    <a:p>
                      <a:pPr>
                        <a:lnSpc>
                          <a:spcPct val="100000"/>
                        </a:lnSpc>
                      </a:pPr>
                      <a:r>
                        <a:rPr lang="en-US" sz="1100" b="0">
                          <a:solidFill>
                            <a:schemeClr val="tx1"/>
                          </a:solidFill>
                          <a:latin typeface="Arial"/>
                        </a:rPr>
                        <a:t>Base Connectivit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a:solidFill>
                        <a:schemeClr val="bg2"/>
                      </a:solidFill>
                    </a:lnT>
                    <a:lnB w="6350" cap="flat" cmpd="sng" algn="ctr">
                      <a:solidFill>
                        <a:schemeClr val="bg2"/>
                      </a:solidFill>
                      <a:prstDash val="solid"/>
                      <a:round/>
                      <a:headEnd type="none" w="med" len="med"/>
                      <a:tailEnd type="none" w="med" len="med"/>
                    </a:lnB>
                  </a:tcPr>
                </a:tc>
                <a:tc rowSpan="5">
                  <a:txBody>
                    <a:bodyPr/>
                    <a:lstStyle/>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noProof="0">
                          <a:ln>
                            <a:noFill/>
                          </a:ln>
                          <a:solidFill>
                            <a:schemeClr val="tx1"/>
                          </a:solidFill>
                          <a:effectLst/>
                          <a:uLnTx/>
                          <a:uFillTx/>
                          <a:latin typeface="Arial"/>
                          <a:ea typeface="+mn-ea"/>
                          <a:cs typeface="Arial"/>
                        </a:rPr>
                        <a:t>Remote Building Supervisor </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noProof="0">
                          <a:ln>
                            <a:noFill/>
                          </a:ln>
                          <a:solidFill>
                            <a:schemeClr val="tx1"/>
                          </a:solidFill>
                          <a:effectLst/>
                          <a:uLnTx/>
                          <a:uFillTx/>
                          <a:latin typeface="Arial"/>
                          <a:ea typeface="+mn-ea"/>
                          <a:cs typeface="Arial"/>
                        </a:rPr>
                        <a:t>KPI Dashboards</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noProof="0">
                          <a:ln>
                            <a:noFill/>
                          </a:ln>
                          <a:solidFill>
                            <a:schemeClr val="tx1"/>
                          </a:solidFill>
                          <a:effectLst/>
                          <a:uLnTx/>
                          <a:uFillTx/>
                          <a:latin typeface="Arial"/>
                          <a:ea typeface="+mn-ea"/>
                          <a:cs typeface="Arial"/>
                        </a:rPr>
                        <a:t>Opportunity Assessment</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noProof="0">
                          <a:ln>
                            <a:noFill/>
                          </a:ln>
                          <a:solidFill>
                            <a:schemeClr val="tx1"/>
                          </a:solidFill>
                          <a:effectLst/>
                          <a:uLnTx/>
                          <a:uFillTx/>
                          <a:latin typeface="Arial"/>
                          <a:ea typeface="+mn-ea"/>
                          <a:cs typeface="Arial"/>
                        </a:rPr>
                        <a:t>Asset Lifecycle Assessment</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a:solidFill>
                        <a:schemeClr val="bg2"/>
                      </a:solidFill>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BASE-5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a:solidFill>
                        <a:schemeClr val="bg2"/>
                      </a:solidFill>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ase connectivity of up to 500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4134659"/>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BASE-15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ase connectivity of up to 1500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19229434"/>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BASE-3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ase connectivity of up to 3000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37234599"/>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BASE-5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ase connectivity of up to 5000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50869238"/>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ADD-1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Add-on connectivity of up to 1000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54613364"/>
                  </a:ext>
                </a:extLst>
              </a:tr>
              <a:tr h="266744">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a:rPr>
                        <a:t>Predictiv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a:rPr>
                        <a:t>Maintenance</a:t>
                      </a:r>
                      <a:endParaRPr kumimoji="0" lang="en-US" sz="1200" b="1"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rowSpan="4">
                  <a:txBody>
                    <a:bodyPr/>
                    <a:lstStyle/>
                    <a:p>
                      <a:pPr>
                        <a:lnSpc>
                          <a:spcPct val="100000"/>
                        </a:lnSpc>
                      </a:pPr>
                      <a:r>
                        <a:rPr lang="en-US" sz="1100">
                          <a:solidFill>
                            <a:schemeClr val="tx1"/>
                          </a:solidFill>
                          <a:latin typeface="Arial"/>
                        </a:rPr>
                        <a:t>Add-on Application</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rowSpan="4">
                  <a:txBody>
                    <a:bodyPr/>
                    <a:lstStyle/>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Analytical rules</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Remote Digital PPM with compliance reports</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Service Case Management</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Maintenance Assist*</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Asset Health &amp; Operational Risk Assessment*</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Asset Reliabilit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PDM-BASE-5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ase package of up to 500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912027779"/>
                  </a:ext>
                </a:extLst>
              </a:tr>
              <a:tr h="2667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PDM-BASE-1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ase package of up to 1000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1598449045"/>
                  </a:ext>
                </a:extLst>
              </a:tr>
              <a:tr h="2667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PDM-BASE-2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ase package of up to 2000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1173739765"/>
                  </a:ext>
                </a:extLst>
              </a:tr>
              <a:tr h="2667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PDM-ADD-1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Add-on package of up to 100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3215740607"/>
                  </a:ext>
                </a:extLst>
              </a:tr>
              <a:tr h="192648">
                <a:tc row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Sustainabilit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rowSpan="8">
                  <a:txBody>
                    <a:bodyPr/>
                    <a:lstStyle/>
                    <a:p>
                      <a:pPr>
                        <a:lnSpc>
                          <a:spcPct val="100000"/>
                        </a:lnSpc>
                      </a:pPr>
                      <a:r>
                        <a:rPr lang="en-US" sz="1100">
                          <a:solidFill>
                            <a:schemeClr val="tx1"/>
                          </a:solidFill>
                          <a:latin typeface="Arial"/>
                        </a:rPr>
                        <a:t>Add-on Application</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rowSpan="8">
                  <a:txBody>
                    <a:bodyPr/>
                    <a:lstStyle/>
                    <a:p>
                      <a:pPr marL="115570" marR="0" lvl="0" indent="-115570" algn="l" rtl="0" eaLnBrk="1" fontAlgn="ctr"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spc="0" normalizeH="0" baseline="0">
                          <a:ln>
                            <a:noFill/>
                          </a:ln>
                          <a:solidFill>
                            <a:schemeClr val="tx1"/>
                          </a:solidFill>
                          <a:effectLst/>
                          <a:uLnTx/>
                          <a:uFillTx/>
                          <a:latin typeface="Arial"/>
                          <a:ea typeface="+mn-ea"/>
                          <a:cs typeface="Arial"/>
                        </a:rPr>
                        <a:t>Carbon &amp; Energy Management - </a:t>
                      </a:r>
                      <a:r>
                        <a:rPr kumimoji="0" lang="en-US" sz="1100" b="0" i="0" u="none" strike="noStrike" kern="1200" cap="none" spc="0" normalizeH="0" baseline="0">
                          <a:ln>
                            <a:noFill/>
                          </a:ln>
                          <a:solidFill>
                            <a:schemeClr val="tx1"/>
                          </a:solidFill>
                          <a:effectLst/>
                          <a:uLnTx/>
                          <a:uFillTx/>
                          <a:latin typeface="Arial"/>
                          <a:ea typeface="+mn-ea"/>
                          <a:cs typeface="Arial"/>
                        </a:rPr>
                        <a:t>Monitor</a:t>
                      </a:r>
                    </a:p>
                    <a:p>
                      <a:pPr marL="115570" marR="0" lvl="0" indent="-115570" algn="l" rtl="0" eaLnBrk="1" fontAlgn="ctr"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spc="0" normalizeH="0" baseline="0" noProof="0">
                          <a:ln>
                            <a:noFill/>
                          </a:ln>
                          <a:solidFill>
                            <a:schemeClr val="tx1"/>
                          </a:solidFill>
                          <a:effectLst/>
                          <a:uLnTx/>
                          <a:uFillTx/>
                          <a:latin typeface="Arial"/>
                        </a:rPr>
                        <a:t>Carbon &amp; Energy Management -</a:t>
                      </a:r>
                      <a:r>
                        <a:rPr lang="en-US" sz="1100" b="0" i="0" u="none" strike="noStrike" kern="1200" cap="none" spc="0" normalizeH="0" baseline="0" noProof="0">
                          <a:ln>
                            <a:noFill/>
                          </a:ln>
                          <a:solidFill>
                            <a:schemeClr val="tx1"/>
                          </a:solidFill>
                          <a:effectLst/>
                          <a:uLnTx/>
                          <a:uFillTx/>
                          <a:latin typeface="Arial"/>
                          <a:ea typeface="+mn-ea"/>
                          <a:cs typeface="Arial"/>
                        </a:rPr>
                        <a:t> </a:t>
                      </a:r>
                      <a:r>
                        <a:rPr kumimoji="0" lang="en-US" sz="1100" b="0" i="0" u="none" strike="noStrike" kern="1200" cap="none" spc="0" normalizeH="0" baseline="0">
                          <a:ln>
                            <a:noFill/>
                          </a:ln>
                          <a:solidFill>
                            <a:schemeClr val="tx1"/>
                          </a:solidFill>
                          <a:effectLst/>
                          <a:uLnTx/>
                          <a:uFillTx/>
                          <a:latin typeface="Arial"/>
                          <a:ea typeface="+mn-ea"/>
                          <a:cs typeface="Arial"/>
                        </a:rPr>
                        <a:t>Optimize* </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Connected Power (Limited country availabilit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effectLst/>
                          <a:latin typeface="Arial"/>
                          <a:ea typeface="Aptos" panose="020B0004020202020204" pitchFamily="34" charset="0"/>
                        </a:rPr>
                        <a:t>BMS-CEM-BASE-01</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lgn="ctr"/>
                      <a:r>
                        <a:rPr lang="en-US" sz="1100">
                          <a:solidFill>
                            <a:schemeClr val="tx1"/>
                          </a:solidFill>
                          <a:effectLst/>
                          <a:latin typeface="Arial"/>
                          <a:ea typeface="Aptos" panose="020B0004020202020204" pitchFamily="34" charset="0"/>
                        </a:rPr>
                        <a:t>Base package base – up to 5 meters</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3465801231"/>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effectLst/>
                          <a:latin typeface="Arial"/>
                          <a:ea typeface="Aptos" panose="020B0004020202020204" pitchFamily="34" charset="0"/>
                        </a:rPr>
                        <a:t>BMS-CEM-ADV-01</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lgn="ctr"/>
                      <a:r>
                        <a:rPr lang="en-US" sz="1100">
                          <a:solidFill>
                            <a:schemeClr val="tx1"/>
                          </a:solidFill>
                          <a:effectLst/>
                          <a:latin typeface="Arial"/>
                          <a:ea typeface="Aptos" panose="020B0004020202020204" pitchFamily="34" charset="0"/>
                        </a:rPr>
                        <a:t>Additional 1 meter</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3116832104"/>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effectLst/>
                          <a:latin typeface="Arial"/>
                          <a:ea typeface="Aptos" panose="020B0004020202020204" pitchFamily="34" charset="0"/>
                        </a:rPr>
                        <a:t>BMS-CEM-ADV-1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lgn="ctr"/>
                      <a:r>
                        <a:rPr lang="en-US" sz="1100" b="0" kern="1200">
                          <a:solidFill>
                            <a:schemeClr val="tx1"/>
                          </a:solidFill>
                          <a:effectLst/>
                          <a:latin typeface="Arial"/>
                          <a:ea typeface="+mn-ea"/>
                          <a:cs typeface="+mn-cs"/>
                        </a:rPr>
                        <a:t>Additional </a:t>
                      </a:r>
                      <a:r>
                        <a:rPr lang="en-US" sz="1100">
                          <a:solidFill>
                            <a:schemeClr val="tx1"/>
                          </a:solidFill>
                          <a:effectLst/>
                          <a:latin typeface="Arial"/>
                          <a:ea typeface="Aptos" panose="020B0004020202020204" pitchFamily="34" charset="0"/>
                        </a:rPr>
                        <a:t>10 meters</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611612085"/>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effectLst/>
                          <a:latin typeface="Arial"/>
                          <a:ea typeface="Aptos" panose="020B0004020202020204" pitchFamily="34" charset="0"/>
                        </a:rPr>
                        <a:t>BMS-CEM-ADV-25</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lgn="ctr"/>
                      <a:r>
                        <a:rPr lang="en-US" sz="1100">
                          <a:solidFill>
                            <a:schemeClr val="tx1"/>
                          </a:solidFill>
                          <a:effectLst/>
                          <a:latin typeface="Arial"/>
                          <a:ea typeface="Aptos" panose="020B0004020202020204" pitchFamily="34" charset="0"/>
                        </a:rPr>
                        <a:t>Additional 25 meters</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101144392"/>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Arial"/>
                        </a:rPr>
                        <a:t>CEM-CPWR25 </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r>
                        <a:rPr lang="en-US" sz="1100">
                          <a:solidFill>
                            <a:schemeClr val="tx1"/>
                          </a:solidFill>
                          <a:effectLst/>
                          <a:latin typeface="Arial"/>
                          <a:ea typeface="Aptos" panose="020B0004020202020204" pitchFamily="34" charset="0"/>
                        </a:rPr>
                        <a:t>Base package up to 25 sockets (50 outlets) </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1033961758"/>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Arial"/>
                        </a:rPr>
                        <a:t>CEM-CPWR50 </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r>
                        <a:rPr lang="en-US" sz="1100">
                          <a:solidFill>
                            <a:schemeClr val="tx1"/>
                          </a:solidFill>
                          <a:effectLst/>
                          <a:latin typeface="Arial"/>
                          <a:ea typeface="Aptos" panose="020B0004020202020204" pitchFamily="34" charset="0"/>
                        </a:rPr>
                        <a:t>Base package up to 50 sockets (100 outle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990532021"/>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Arial"/>
                        </a:rPr>
                        <a:t>CEM-CPWR100 </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r>
                        <a:rPr lang="en-US" sz="1100">
                          <a:solidFill>
                            <a:schemeClr val="tx1"/>
                          </a:solidFill>
                          <a:effectLst/>
                          <a:latin typeface="Arial"/>
                          <a:ea typeface="Aptos" panose="020B0004020202020204" pitchFamily="34" charset="0"/>
                        </a:rPr>
                        <a:t>Base package up to 100 sockets (200 outle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2181857336"/>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Arial"/>
                        </a:rPr>
                        <a:t>CEM-CPWRADD5</a:t>
                      </a:r>
                      <a:endParaRPr lang="en-US" sz="1100">
                        <a:solidFill>
                          <a:schemeClr val="tx1"/>
                        </a:solidFill>
                        <a:effectLst/>
                        <a:latin typeface="Arial"/>
                        <a:ea typeface="Aptos" panose="020B0004020202020204" pitchFamily="34" charset="0"/>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r>
                        <a:rPr lang="en-US" sz="1100">
                          <a:solidFill>
                            <a:schemeClr val="tx1"/>
                          </a:solidFill>
                          <a:effectLst/>
                          <a:latin typeface="Arial"/>
                          <a:ea typeface="Aptos" panose="020B0004020202020204" pitchFamily="34" charset="0"/>
                        </a:rPr>
                        <a:t>Additional up to 5 sockets (10 outle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2567457132"/>
                  </a:ext>
                </a:extLst>
              </a:tr>
              <a:tr h="444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Ins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Builder</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nSpc>
                          <a:spcPct val="100000"/>
                        </a:lnSpc>
                      </a:pPr>
                      <a:r>
                        <a:rPr lang="en-US" sz="1100">
                          <a:solidFill>
                            <a:schemeClr val="tx1"/>
                          </a:solidFill>
                          <a:latin typeface="Arial"/>
                        </a:rPr>
                        <a:t>Add-on Application</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Custom Report &amp; Dashboard Builder</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Product library with predefined templates*</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lgn="ctr"/>
                      <a:r>
                        <a:rPr lang="en-US" sz="1100">
                          <a:solidFill>
                            <a:schemeClr val="tx1"/>
                          </a:solidFill>
                          <a:effectLst/>
                          <a:latin typeface="Arial"/>
                          <a:ea typeface="Aptos" panose="020B0004020202020204" pitchFamily="34" charset="0"/>
                        </a:rPr>
                        <a:t>BMS-IB-ADD-5</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lgn="ctr"/>
                      <a:r>
                        <a:rPr lang="en-US" sz="1100">
                          <a:solidFill>
                            <a:schemeClr val="tx1"/>
                          </a:solidFill>
                          <a:effectLst/>
                          <a:latin typeface="Arial"/>
                          <a:ea typeface="Aptos" panose="020B0004020202020204" pitchFamily="34" charset="0"/>
                        </a:rPr>
                        <a:t>Additional 5 dashboards &amp; reports </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73498544"/>
                  </a:ext>
                </a:extLst>
              </a:tr>
              <a:tr h="444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Portfoli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Manager</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nSpc>
                          <a:spcPct val="100000"/>
                        </a:lnSpc>
                      </a:pPr>
                      <a:r>
                        <a:rPr lang="en-US" sz="1100">
                          <a:solidFill>
                            <a:schemeClr val="tx1"/>
                          </a:solidFill>
                          <a:latin typeface="Arial"/>
                        </a:rPr>
                        <a:t>Add-on Application</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Portfolio view of multiple sites*</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endParaRPr lang="en-US" sz="1100">
                        <a:solidFill>
                          <a:schemeClr val="tx1"/>
                        </a:solidFill>
                        <a:effectLst/>
                        <a:latin typeface="Arial"/>
                        <a:ea typeface="Aptos" panose="020B0004020202020204" pitchFamily="34" charset="0"/>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endParaRPr lang="en-US" sz="1100">
                        <a:solidFill>
                          <a:schemeClr val="tx1"/>
                        </a:solidFill>
                        <a:effectLst/>
                        <a:latin typeface="Arial"/>
                        <a:ea typeface="Aptos" panose="020B0004020202020204" pitchFamily="34" charset="0"/>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51773127"/>
                  </a:ext>
                </a:extLst>
              </a:tr>
              <a:tr h="192648">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Honeywell Building Operation Centre (HB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Managed Services</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rowSpan="5">
                  <a:txBody>
                    <a:bodyPr/>
                    <a:lstStyle/>
                    <a:p>
                      <a:pPr>
                        <a:lnSpc>
                          <a:spcPct val="100000"/>
                        </a:lnSpc>
                      </a:pPr>
                      <a:r>
                        <a:rPr lang="en-US" sz="1100">
                          <a:solidFill>
                            <a:schemeClr val="tx1"/>
                          </a:solidFill>
                          <a:latin typeface="Arial"/>
                        </a:rPr>
                        <a:t>Add-on Services</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tc rowSpan="5">
                  <a:txBody>
                    <a:bodyPr/>
                    <a:lstStyle/>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Alarm Management</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a:ln>
                            <a:noFill/>
                          </a:ln>
                          <a:solidFill>
                            <a:schemeClr val="tx1"/>
                          </a:solidFill>
                          <a:effectLst/>
                          <a:uLnTx/>
                          <a:uFillTx/>
                          <a:latin typeface="Arial"/>
                          <a:ea typeface="+mn-ea"/>
                          <a:cs typeface="Arial"/>
                        </a:rPr>
                        <a:t>Reporting Services </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Emergency Site Monitoring *</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tc>
                  <a:txBody>
                    <a:bodyPr/>
                    <a:lstStyle/>
                    <a:p>
                      <a:pPr marL="0" marR="0" algn="ctr"/>
                      <a:r>
                        <a:rPr lang="en-US" sz="1100">
                          <a:solidFill>
                            <a:schemeClr val="tx1"/>
                          </a:solidFill>
                          <a:effectLst/>
                          <a:latin typeface="Arial"/>
                          <a:ea typeface="Aptos" panose="020B0004020202020204" pitchFamily="34" charset="0"/>
                        </a:rPr>
                        <a:t>HBOC_ALMMGMT_CPMIN</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effectLst/>
                          <a:latin typeface="Arial"/>
                          <a:ea typeface="Aptos" panose="020B0004020202020204" pitchFamily="34" charset="0"/>
                        </a:rPr>
                        <a:t>Report and triage for unlimited events min 5 poi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extLst>
                  <a:ext uri="{0D108BD9-81ED-4DB2-BD59-A6C34878D82A}">
                    <a16:rowId xmlns:a16="http://schemas.microsoft.com/office/drawing/2014/main" val="1144927584"/>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ctr"/>
                      <a:r>
                        <a:rPr lang="en-US" sz="1100">
                          <a:solidFill>
                            <a:schemeClr val="tx1"/>
                          </a:solidFill>
                          <a:effectLst/>
                          <a:latin typeface="Arial"/>
                          <a:ea typeface="Aptos" panose="020B0004020202020204" pitchFamily="34" charset="0"/>
                        </a:rPr>
                        <a:t>HBOC_ALMMGMT_CP</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tc>
                  <a:txBody>
                    <a:bodyPr/>
                    <a:lstStyle/>
                    <a:p>
                      <a:pPr marL="0" marR="0" algn="ctr"/>
                      <a:r>
                        <a:rPr lang="en-US" sz="1100">
                          <a:solidFill>
                            <a:schemeClr val="tx1"/>
                          </a:solidFill>
                          <a:effectLst/>
                          <a:latin typeface="Arial"/>
                          <a:ea typeface="Aptos" panose="020B0004020202020204" pitchFamily="34" charset="0"/>
                        </a:rPr>
                        <a:t>Report and triage for unlimited events per point</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extLst>
                  <a:ext uri="{0D108BD9-81ED-4DB2-BD59-A6C34878D82A}">
                    <a16:rowId xmlns:a16="http://schemas.microsoft.com/office/drawing/2014/main" val="3573871422"/>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ctr"/>
                      <a:r>
                        <a:rPr lang="en-US" sz="1100">
                          <a:solidFill>
                            <a:schemeClr val="tx1"/>
                          </a:solidFill>
                          <a:effectLst/>
                          <a:latin typeface="Arial"/>
                          <a:ea typeface="Aptos" panose="020B0004020202020204" pitchFamily="34" charset="0"/>
                        </a:rPr>
                        <a:t>HBOC_ALMMGMT_CP1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tc>
                  <a:txBody>
                    <a:bodyPr/>
                    <a:lstStyle/>
                    <a:p>
                      <a:pPr marL="0" marR="0" algn="ctr"/>
                      <a:r>
                        <a:rPr lang="en-US" sz="1100">
                          <a:solidFill>
                            <a:schemeClr val="tx1"/>
                          </a:solidFill>
                          <a:effectLst/>
                          <a:latin typeface="Arial"/>
                          <a:ea typeface="Aptos" panose="020B0004020202020204" pitchFamily="34" charset="0"/>
                        </a:rPr>
                        <a:t>Report and triage for 100 even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extLst>
                  <a:ext uri="{0D108BD9-81ED-4DB2-BD59-A6C34878D82A}">
                    <a16:rowId xmlns:a16="http://schemas.microsoft.com/office/drawing/2014/main" val="1801889760"/>
                  </a:ext>
                </a:extLst>
              </a:tr>
              <a:tr h="19264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ctr"/>
                      <a:r>
                        <a:rPr lang="en-US" sz="1100">
                          <a:solidFill>
                            <a:schemeClr val="tx1"/>
                          </a:solidFill>
                          <a:effectLst/>
                          <a:latin typeface="Arial"/>
                          <a:ea typeface="Aptos" panose="020B0004020202020204" pitchFamily="34" charset="0"/>
                        </a:rPr>
                        <a:t>HBOC_REPORT_CP</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tc>
                  <a:txBody>
                    <a:bodyPr/>
                    <a:lstStyle/>
                    <a:p>
                      <a:pPr marL="0" marR="0" algn="ctr"/>
                      <a:r>
                        <a:rPr lang="en-US" sz="1100">
                          <a:solidFill>
                            <a:schemeClr val="tx1"/>
                          </a:solidFill>
                          <a:effectLst/>
                          <a:latin typeface="Arial"/>
                          <a:ea typeface="Aptos" panose="020B0004020202020204" pitchFamily="34" charset="0"/>
                        </a:rPr>
                        <a:t>Ad-hoc reporting </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extLst>
                  <a:ext uri="{0D108BD9-81ED-4DB2-BD59-A6C34878D82A}">
                    <a16:rowId xmlns:a16="http://schemas.microsoft.com/office/drawing/2014/main" val="4042252919"/>
                  </a:ext>
                </a:extLst>
              </a:tr>
              <a:tr h="201477">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ctr"/>
                      <a:r>
                        <a:rPr lang="en-US" sz="1100">
                          <a:solidFill>
                            <a:schemeClr val="tx1"/>
                          </a:solidFill>
                          <a:effectLst/>
                          <a:latin typeface="Arial"/>
                          <a:ea typeface="Aptos" panose="020B0004020202020204" pitchFamily="34" charset="0"/>
                        </a:rPr>
                        <a:t>HBOC_REPORT_CP_P</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tc>
                  <a:txBody>
                    <a:bodyPr/>
                    <a:lstStyle/>
                    <a:p>
                      <a:pPr marL="0" marR="0" algn="ctr"/>
                      <a:r>
                        <a:rPr lang="en-US" sz="1100">
                          <a:solidFill>
                            <a:schemeClr val="tx1"/>
                          </a:solidFill>
                          <a:effectLst/>
                          <a:latin typeface="Arial"/>
                          <a:ea typeface="Aptos" panose="020B0004020202020204" pitchFamily="34" charset="0"/>
                        </a:rPr>
                        <a:t>Specified reports</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6">
                        <a:alpha val="10000"/>
                      </a:schemeClr>
                    </a:solidFill>
                  </a:tcPr>
                </a:tc>
                <a:extLst>
                  <a:ext uri="{0D108BD9-81ED-4DB2-BD59-A6C34878D82A}">
                    <a16:rowId xmlns:a16="http://schemas.microsoft.com/office/drawing/2014/main" val="997963027"/>
                  </a:ext>
                </a:extLst>
              </a:tr>
            </a:tbl>
          </a:graphicData>
        </a:graphic>
      </p:graphicFrame>
      <p:sp>
        <p:nvSpPr>
          <p:cNvPr id="7" name="TextBox 6">
            <a:extLst>
              <a:ext uri="{FF2B5EF4-FFF2-40B4-BE49-F238E27FC236}">
                <a16:creationId xmlns:a16="http://schemas.microsoft.com/office/drawing/2014/main" id="{3F1F853A-CF89-B835-560F-8C20ACF828E8}"/>
              </a:ext>
            </a:extLst>
          </p:cNvPr>
          <p:cNvSpPr txBox="1"/>
          <p:nvPr/>
        </p:nvSpPr>
        <p:spPr>
          <a:xfrm>
            <a:off x="10930753" y="6658155"/>
            <a:ext cx="1651278" cy="261610"/>
          </a:xfrm>
          <a:prstGeom prst="rect">
            <a:avLst/>
          </a:prstGeom>
          <a:noFill/>
          <a:ln>
            <a:noFill/>
          </a:ln>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Coming soon  </a:t>
            </a:r>
          </a:p>
        </p:txBody>
      </p:sp>
    </p:spTree>
    <p:extLst>
      <p:ext uri="{BB962C8B-B14F-4D97-AF65-F5344CB8AC3E}">
        <p14:creationId xmlns:p14="http://schemas.microsoft.com/office/powerpoint/2010/main" val="31883746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20C118B-54E9-CC60-F8D2-E10C181BE54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783D8AC-08EB-2795-46C3-445B66CF12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6783D8AC-08EB-2795-46C3-445B66CF12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1EFB352-4384-95F3-41B2-672E634539F1}"/>
              </a:ext>
            </a:extLst>
          </p:cNvPr>
          <p:cNvSpPr>
            <a:spLocks noGrp="1"/>
          </p:cNvSpPr>
          <p:nvPr>
            <p:ph type="title"/>
          </p:nvPr>
        </p:nvSpPr>
        <p:spPr>
          <a:xfrm>
            <a:off x="279828" y="77632"/>
            <a:ext cx="5816171" cy="697883"/>
          </a:xfrm>
        </p:spPr>
        <p:txBody>
          <a:bodyPr vert="horz"/>
          <a:lstStyle/>
          <a:p>
            <a:r>
              <a:rPr kumimoji="0" lang="en-US" sz="2800" b="0" i="0" u="none" strike="noStrike" kern="1200" cap="all" spc="-150" normalizeH="0" baseline="0" noProof="0">
                <a:ln>
                  <a:noFill/>
                </a:ln>
                <a:solidFill>
                  <a:srgbClr val="000000"/>
                </a:solidFill>
                <a:effectLst/>
                <a:uLnTx/>
                <a:uFillTx/>
                <a:latin typeface="+mj-lt"/>
                <a:ea typeface="+mj-ea"/>
                <a:cs typeface="+mj-cs"/>
              </a:rPr>
              <a:t>TIERED Software</a:t>
            </a:r>
            <a:r>
              <a:rPr lang="en-US" sz="2800" spc="-150">
                <a:solidFill>
                  <a:srgbClr val="000000"/>
                </a:solidFill>
              </a:rPr>
              <a:t> PACKAGES</a:t>
            </a:r>
            <a:br>
              <a:rPr kumimoji="0" lang="en-US" sz="2800" b="0" i="0" u="none" strike="noStrike" kern="1200" cap="all" spc="-150" normalizeH="0" baseline="0" noProof="0">
                <a:ln>
                  <a:noFill/>
                </a:ln>
                <a:solidFill>
                  <a:srgbClr val="000000"/>
                </a:solidFill>
                <a:effectLst/>
                <a:uLnTx/>
                <a:uFillTx/>
                <a:latin typeface="+mj-lt"/>
                <a:ea typeface="+mj-ea"/>
                <a:cs typeface="+mj-cs"/>
              </a:rPr>
            </a:br>
            <a:endParaRPr lang="en-US" sz="2800">
              <a:solidFill>
                <a:srgbClr val="000000"/>
              </a:solidFill>
            </a:endParaRPr>
          </a:p>
        </p:txBody>
      </p:sp>
      <p:sp>
        <p:nvSpPr>
          <p:cNvPr id="4" name="Slide Number Placeholder 3">
            <a:extLst>
              <a:ext uri="{FF2B5EF4-FFF2-40B4-BE49-F238E27FC236}">
                <a16:creationId xmlns:a16="http://schemas.microsoft.com/office/drawing/2014/main" id="{CB699707-310F-69CD-0209-7A488FB19C6C}"/>
              </a:ext>
            </a:extLst>
          </p:cNvPr>
          <p:cNvSpPr>
            <a:spLocks noGrp="1"/>
          </p:cNvSpPr>
          <p:nvPr>
            <p:ph type="sldNum" sz="quarter" idx="12"/>
          </p:nvPr>
        </p:nvSpPr>
        <p:spPr>
          <a:xfrm>
            <a:off x="11124693" y="6405102"/>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graphicFrame>
        <p:nvGraphicFramePr>
          <p:cNvPr id="2" name="Table 1">
            <a:extLst>
              <a:ext uri="{FF2B5EF4-FFF2-40B4-BE49-F238E27FC236}">
                <a16:creationId xmlns:a16="http://schemas.microsoft.com/office/drawing/2014/main" id="{9DB25E7D-D88F-5FE0-C986-094CD466CF8F}"/>
              </a:ext>
            </a:extLst>
          </p:cNvPr>
          <p:cNvGraphicFramePr>
            <a:graphicFrameLocks noGrp="1"/>
          </p:cNvGraphicFramePr>
          <p:nvPr>
            <p:extLst>
              <p:ext uri="{D42A27DB-BD31-4B8C-83A1-F6EECF244321}">
                <p14:modId xmlns:p14="http://schemas.microsoft.com/office/powerpoint/2010/main" val="1654471362"/>
              </p:ext>
            </p:extLst>
          </p:nvPr>
        </p:nvGraphicFramePr>
        <p:xfrm>
          <a:off x="318408" y="407101"/>
          <a:ext cx="11555182" cy="5874967"/>
        </p:xfrm>
        <a:graphic>
          <a:graphicData uri="http://schemas.openxmlformats.org/drawingml/2006/table">
            <a:tbl>
              <a:tblPr firstRow="1" bandRow="1">
                <a:tableStyleId>{68D230F3-CF80-4859-8CE7-A43EE81993B5}</a:tableStyleId>
              </a:tblPr>
              <a:tblGrid>
                <a:gridCol w="1720730">
                  <a:extLst>
                    <a:ext uri="{9D8B030D-6E8A-4147-A177-3AD203B41FA5}">
                      <a16:colId xmlns:a16="http://schemas.microsoft.com/office/drawing/2014/main" val="175906762"/>
                    </a:ext>
                  </a:extLst>
                </a:gridCol>
                <a:gridCol w="1031750">
                  <a:extLst>
                    <a:ext uri="{9D8B030D-6E8A-4147-A177-3AD203B41FA5}">
                      <a16:colId xmlns:a16="http://schemas.microsoft.com/office/drawing/2014/main" val="3561486414"/>
                    </a:ext>
                  </a:extLst>
                </a:gridCol>
                <a:gridCol w="2535108">
                  <a:extLst>
                    <a:ext uri="{9D8B030D-6E8A-4147-A177-3AD203B41FA5}">
                      <a16:colId xmlns:a16="http://schemas.microsoft.com/office/drawing/2014/main" val="17937821"/>
                    </a:ext>
                  </a:extLst>
                </a:gridCol>
                <a:gridCol w="2304115">
                  <a:extLst>
                    <a:ext uri="{9D8B030D-6E8A-4147-A177-3AD203B41FA5}">
                      <a16:colId xmlns:a16="http://schemas.microsoft.com/office/drawing/2014/main" val="1206030753"/>
                    </a:ext>
                  </a:extLst>
                </a:gridCol>
                <a:gridCol w="1795749">
                  <a:extLst>
                    <a:ext uri="{9D8B030D-6E8A-4147-A177-3AD203B41FA5}">
                      <a16:colId xmlns:a16="http://schemas.microsoft.com/office/drawing/2014/main" val="1458864747"/>
                    </a:ext>
                  </a:extLst>
                </a:gridCol>
                <a:gridCol w="2167730">
                  <a:extLst>
                    <a:ext uri="{9D8B030D-6E8A-4147-A177-3AD203B41FA5}">
                      <a16:colId xmlns:a16="http://schemas.microsoft.com/office/drawing/2014/main" val="2597451087"/>
                    </a:ext>
                  </a:extLst>
                </a:gridCol>
              </a:tblGrid>
              <a:tr h="281352">
                <a:tc>
                  <a:txBody>
                    <a:bodyPr/>
                    <a:lstStyle/>
                    <a:p>
                      <a:pPr marL="0" lvl="0" indent="0" algn="l" defTabSz="914400">
                        <a:lnSpc>
                          <a:spcPct val="100000"/>
                        </a:lnSpc>
                        <a:spcBef>
                          <a:spcPts val="0"/>
                        </a:spcBef>
                        <a:spcAft>
                          <a:spcPts val="0"/>
                        </a:spcAft>
                        <a:buNone/>
                        <a:tabLst/>
                        <a:defRPr/>
                      </a:pPr>
                      <a:r>
                        <a:rPr kumimoji="0" lang="en-US" sz="1400" b="1" i="0" u="none" strike="noStrike" kern="1200" cap="none" spc="0" normalizeH="0" baseline="0" noProof="0">
                          <a:ln>
                            <a:noFill/>
                          </a:ln>
                          <a:solidFill>
                            <a:schemeClr val="bg1"/>
                          </a:solidFill>
                          <a:effectLst/>
                          <a:uLnTx/>
                          <a:uFillTx/>
                          <a:latin typeface="Arial"/>
                          <a:ea typeface="+mn-ea"/>
                          <a:cs typeface="+mn-cs"/>
                        </a:rPr>
                        <a:t>PACKAGE</a:t>
                      </a:r>
                    </a:p>
                  </a:txBody>
                  <a:tcPr anchor="ctr">
                    <a:lnL w="6350">
                      <a:solidFill>
                        <a:schemeClr val="bg2"/>
                      </a:solidFill>
                    </a:lnL>
                    <a:lnR w="6350">
                      <a:solidFill>
                        <a:schemeClr val="bg2"/>
                      </a:solidFill>
                    </a:lnR>
                    <a:lnT w="6350">
                      <a:solidFill>
                        <a:schemeClr val="bg2"/>
                      </a:solidFill>
                    </a:lnT>
                    <a:lnB w="6350">
                      <a:solidFill>
                        <a:schemeClr val="bg2"/>
                      </a:solidFill>
                    </a:lnB>
                    <a:solidFill>
                      <a:schemeClr val="tx1"/>
                    </a:solidFill>
                  </a:tcPr>
                </a:tc>
                <a:tc>
                  <a:txBody>
                    <a:bodyPr/>
                    <a:lstStyle/>
                    <a:p>
                      <a:pPr lvl="0">
                        <a:lnSpc>
                          <a:spcPct val="100000"/>
                        </a:lnSpc>
                        <a:buNone/>
                      </a:pPr>
                      <a:r>
                        <a:rPr lang="en-US" sz="1400" b="1">
                          <a:solidFill>
                            <a:schemeClr val="bg1"/>
                          </a:solidFill>
                          <a:latin typeface="Arial"/>
                        </a:rPr>
                        <a:t>TYPE</a:t>
                      </a:r>
                    </a:p>
                  </a:txBody>
                  <a:tcPr anchor="ctr">
                    <a:lnL w="6350">
                      <a:solidFill>
                        <a:schemeClr val="bg2"/>
                      </a:solidFill>
                    </a:lnL>
                    <a:lnR w="6350">
                      <a:solidFill>
                        <a:schemeClr val="bg2"/>
                      </a:solidFill>
                    </a:lnR>
                    <a:lnT w="6350">
                      <a:solidFill>
                        <a:schemeClr val="bg2"/>
                      </a:solidFill>
                    </a:lnT>
                    <a:lnB w="6350">
                      <a:solidFill>
                        <a:schemeClr val="bg2"/>
                      </a:solidFill>
                    </a:lnB>
                    <a:solidFill>
                      <a:schemeClr val="tx1"/>
                    </a:solidFill>
                  </a:tcPr>
                </a:tc>
                <a:tc>
                  <a:txBody>
                    <a:bodyPr/>
                    <a:lstStyle/>
                    <a:p>
                      <a:pPr marL="0" lvl="0" indent="0" algn="l" defTabSz="914400">
                        <a:lnSpc>
                          <a:spcPct val="100000"/>
                        </a:lnSpc>
                        <a:spcBef>
                          <a:spcPts val="0"/>
                        </a:spcBef>
                        <a:spcAft>
                          <a:spcPts val="0"/>
                        </a:spcAft>
                        <a:buNone/>
                        <a:defRPr/>
                      </a:pPr>
                      <a:r>
                        <a:rPr lang="en-US" sz="1400" b="1" i="0" u="none" strike="noStrike" kern="1200" cap="none" spc="0" normalizeH="0" baseline="0" noProof="0">
                          <a:ln>
                            <a:noFill/>
                          </a:ln>
                          <a:solidFill>
                            <a:schemeClr val="bg1"/>
                          </a:solidFill>
                          <a:effectLst/>
                          <a:uLnTx/>
                          <a:uFillTx/>
                          <a:latin typeface="Arial"/>
                          <a:ea typeface="+mn-ea"/>
                          <a:cs typeface="Arial"/>
                        </a:rPr>
                        <a:t>APPLICATIONS</a:t>
                      </a:r>
                    </a:p>
                  </a:txBody>
                  <a:tcPr anchor="ctr">
                    <a:lnL w="6350">
                      <a:solidFill>
                        <a:schemeClr val="bg2"/>
                      </a:solidFill>
                    </a:lnL>
                    <a:lnR w="6350">
                      <a:solidFill>
                        <a:schemeClr val="bg2"/>
                      </a:solidFill>
                    </a:lnR>
                    <a:lnT w="6350">
                      <a:solidFill>
                        <a:schemeClr val="bg2"/>
                      </a:solidFill>
                    </a:lnT>
                    <a:lnB w="6350">
                      <a:solidFill>
                        <a:schemeClr val="bg2"/>
                      </a:solidFill>
                    </a:lnB>
                    <a:solidFill>
                      <a:schemeClr val="tx1"/>
                    </a:solidFill>
                  </a:tcPr>
                </a:tc>
                <a:tc>
                  <a:txBody>
                    <a:bodyPr/>
                    <a:lstStyle/>
                    <a:p>
                      <a:pPr marL="0" lvl="0" indent="0" algn="l" defTabSz="914400">
                        <a:lnSpc>
                          <a:spcPct val="100000"/>
                        </a:lnSpc>
                        <a:spcBef>
                          <a:spcPts val="0"/>
                        </a:spcBef>
                        <a:spcAft>
                          <a:spcPts val="0"/>
                        </a:spcAft>
                        <a:buNone/>
                        <a:tabLst/>
                        <a:defRPr/>
                      </a:pPr>
                      <a:r>
                        <a:rPr lang="en-US" sz="1400" b="1" kern="1200">
                          <a:solidFill>
                            <a:schemeClr val="bg1"/>
                          </a:solidFill>
                          <a:effectLst/>
                          <a:latin typeface="Arial"/>
                          <a:ea typeface="+mn-ea"/>
                          <a:cs typeface="+mn-cs"/>
                        </a:rPr>
                        <a:t>SKUs </a:t>
                      </a:r>
                    </a:p>
                  </a:txBody>
                  <a:tcPr anchor="ctr">
                    <a:lnL w="6350">
                      <a:solidFill>
                        <a:schemeClr val="bg2"/>
                      </a:solidFill>
                    </a:lnL>
                    <a:lnR w="6350" cap="flat" cmpd="sng" algn="ctr">
                      <a:solidFill>
                        <a:schemeClr val="bg2"/>
                      </a:solidFill>
                      <a:prstDash val="solid"/>
                      <a:round/>
                      <a:headEnd type="none" w="med" len="med"/>
                      <a:tailEnd type="none" w="med" len="med"/>
                    </a:lnR>
                    <a:lnT w="6350">
                      <a:solidFill>
                        <a:schemeClr val="bg2"/>
                      </a:solidFill>
                    </a:lnT>
                    <a:lnB w="6350">
                      <a:solidFill>
                        <a:schemeClr val="bg2"/>
                      </a:solidFill>
                    </a:lnB>
                    <a:solidFill>
                      <a:schemeClr val="tx1"/>
                    </a:solidFill>
                  </a:tcPr>
                </a:tc>
                <a:tc>
                  <a:txBody>
                    <a:bodyPr/>
                    <a:lstStyle/>
                    <a:p>
                      <a:pPr marL="0" lvl="0" indent="0" algn="l" defTabSz="914400">
                        <a:lnSpc>
                          <a:spcPct val="100000"/>
                        </a:lnSpc>
                        <a:spcBef>
                          <a:spcPts val="0"/>
                        </a:spcBef>
                        <a:spcAft>
                          <a:spcPts val="0"/>
                        </a:spcAft>
                        <a:buNone/>
                        <a:tabLst/>
                        <a:defRPr/>
                      </a:pPr>
                      <a:r>
                        <a:rPr lang="en-US" sz="1400" b="1" kern="1200">
                          <a:solidFill>
                            <a:schemeClr val="bg1"/>
                          </a:solidFill>
                          <a:effectLst/>
                          <a:latin typeface="Arial"/>
                          <a:ea typeface="+mn-ea"/>
                          <a:cs typeface="+mn-cs"/>
                        </a:rPr>
                        <a:t>Net Price EUR</a:t>
                      </a:r>
                    </a:p>
                  </a:txBody>
                  <a:tcPr anchor="ctr">
                    <a:lnL w="6350">
                      <a:solidFill>
                        <a:schemeClr val="bg2"/>
                      </a:solidFill>
                    </a:lnL>
                    <a:lnR w="6350" cap="flat" cmpd="sng" algn="ctr">
                      <a:solidFill>
                        <a:schemeClr val="bg2"/>
                      </a:solidFill>
                      <a:prstDash val="solid"/>
                      <a:round/>
                      <a:headEnd type="none" w="med" len="med"/>
                      <a:tailEnd type="none" w="med" len="med"/>
                    </a:lnR>
                    <a:lnT w="6350">
                      <a:solidFill>
                        <a:schemeClr val="bg2"/>
                      </a:solidFill>
                    </a:lnT>
                    <a:lnB w="6350" cap="flat" cmpd="sng" algn="ctr">
                      <a:solidFill>
                        <a:schemeClr val="bg2"/>
                      </a:solidFill>
                      <a:prstDash val="solid"/>
                      <a:round/>
                      <a:headEnd type="none" w="med" len="med"/>
                      <a:tailEnd type="none" w="med" len="med"/>
                    </a:lnB>
                    <a:solidFill>
                      <a:schemeClr val="tx1"/>
                    </a:solidFill>
                  </a:tcPr>
                </a:tc>
                <a:tc>
                  <a:txBody>
                    <a:bodyPr/>
                    <a:lstStyle/>
                    <a:p>
                      <a:pPr marL="0" lvl="0" indent="0" algn="l" defTabSz="914400">
                        <a:lnSpc>
                          <a:spcPct val="100000"/>
                        </a:lnSpc>
                        <a:spcBef>
                          <a:spcPts val="0"/>
                        </a:spcBef>
                        <a:spcAft>
                          <a:spcPts val="0"/>
                        </a:spcAft>
                        <a:buNone/>
                        <a:tabLst/>
                        <a:defRPr/>
                      </a:pPr>
                      <a:r>
                        <a:rPr lang="en-US" sz="1400" b="1" kern="1200">
                          <a:solidFill>
                            <a:schemeClr val="bg1"/>
                          </a:solidFill>
                          <a:effectLst/>
                          <a:latin typeface="Arial"/>
                          <a:ea typeface="+mn-ea"/>
                          <a:cs typeface="+mn-cs"/>
                        </a:rPr>
                        <a:t>Net Price GBP</a:t>
                      </a:r>
                    </a:p>
                  </a:txBody>
                  <a:tcPr anchor="ctr">
                    <a:lnL w="6350">
                      <a:solidFill>
                        <a:schemeClr val="bg2"/>
                      </a:solidFill>
                    </a:lnL>
                    <a:lnR w="6350">
                      <a:solidFill>
                        <a:schemeClr val="bg2"/>
                      </a:solidFill>
                    </a:lnR>
                    <a:lnT w="6350">
                      <a:solidFill>
                        <a:schemeClr val="bg2"/>
                      </a:solidFill>
                    </a:lnT>
                    <a:lnB w="6350" cap="flat" cmpd="sng" algn="ctr">
                      <a:solidFill>
                        <a:schemeClr val="bg2"/>
                      </a:solidFill>
                      <a:prstDash val="solid"/>
                      <a:round/>
                      <a:headEnd type="none" w="med" len="med"/>
                      <a:tailEnd type="none" w="med" len="med"/>
                    </a:lnB>
                    <a:solidFill>
                      <a:schemeClr val="tx1"/>
                    </a:solidFill>
                  </a:tcPr>
                </a:tc>
                <a:extLst>
                  <a:ext uri="{0D108BD9-81ED-4DB2-BD59-A6C34878D82A}">
                    <a16:rowId xmlns:a16="http://schemas.microsoft.com/office/drawing/2014/main" val="1570710642"/>
                  </a:ext>
                </a:extLst>
              </a:tr>
              <a:tr h="256312">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a:rPr>
                        <a:t>Remote Buil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Manager</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a:solidFill>
                        <a:schemeClr val="bg2"/>
                      </a:solidFill>
                    </a:lnT>
                    <a:lnB w="6350" cap="flat" cmpd="sng" algn="ctr">
                      <a:solidFill>
                        <a:schemeClr val="bg2"/>
                      </a:solidFill>
                      <a:prstDash val="solid"/>
                      <a:round/>
                      <a:headEnd type="none" w="med" len="med"/>
                      <a:tailEnd type="none" w="med" len="med"/>
                    </a:lnB>
                    <a:solidFill>
                      <a:schemeClr val="bg1">
                        <a:lumMod val="95000"/>
                      </a:schemeClr>
                    </a:solidFill>
                  </a:tcPr>
                </a:tc>
                <a:tc rowSpan="5">
                  <a:txBody>
                    <a:bodyPr/>
                    <a:lstStyle/>
                    <a:p>
                      <a:pPr>
                        <a:lnSpc>
                          <a:spcPct val="100000"/>
                        </a:lnSpc>
                      </a:pPr>
                      <a:r>
                        <a:rPr lang="en-US" sz="1100" b="0">
                          <a:solidFill>
                            <a:schemeClr val="tx1"/>
                          </a:solidFill>
                          <a:latin typeface="Arial"/>
                        </a:rPr>
                        <a:t>Base Connectivit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a:solidFill>
                        <a:schemeClr val="bg2"/>
                      </a:solidFill>
                    </a:lnT>
                    <a:lnB w="6350" cap="flat" cmpd="sng" algn="ctr">
                      <a:solidFill>
                        <a:schemeClr val="bg2"/>
                      </a:solidFill>
                      <a:prstDash val="solid"/>
                      <a:round/>
                      <a:headEnd type="none" w="med" len="med"/>
                      <a:tailEnd type="none" w="med" len="med"/>
                    </a:lnB>
                  </a:tcPr>
                </a:tc>
                <a:tc rowSpan="5">
                  <a:txBody>
                    <a:bodyPr/>
                    <a:lstStyle/>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noProof="0">
                          <a:ln>
                            <a:noFill/>
                          </a:ln>
                          <a:solidFill>
                            <a:schemeClr val="tx1"/>
                          </a:solidFill>
                          <a:effectLst/>
                          <a:uLnTx/>
                          <a:uFillTx/>
                          <a:latin typeface="Arial"/>
                          <a:ea typeface="+mn-ea"/>
                          <a:cs typeface="Arial"/>
                        </a:rPr>
                        <a:t>Remote Building Supervisor </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noProof="0">
                          <a:ln>
                            <a:noFill/>
                          </a:ln>
                          <a:solidFill>
                            <a:schemeClr val="tx1"/>
                          </a:solidFill>
                          <a:effectLst/>
                          <a:uLnTx/>
                          <a:uFillTx/>
                          <a:latin typeface="Arial"/>
                          <a:ea typeface="+mn-ea"/>
                          <a:cs typeface="Arial"/>
                        </a:rPr>
                        <a:t>KPI Dashboards</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noProof="0">
                          <a:ln>
                            <a:noFill/>
                          </a:ln>
                          <a:solidFill>
                            <a:schemeClr val="tx1"/>
                          </a:solidFill>
                          <a:effectLst/>
                          <a:uLnTx/>
                          <a:uFillTx/>
                          <a:latin typeface="Arial"/>
                          <a:ea typeface="+mn-ea"/>
                          <a:cs typeface="Arial"/>
                        </a:rPr>
                        <a:t>Opportunity Assessment</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noProof="0">
                          <a:ln>
                            <a:noFill/>
                          </a:ln>
                          <a:solidFill>
                            <a:schemeClr val="tx1"/>
                          </a:solidFill>
                          <a:effectLst/>
                          <a:uLnTx/>
                          <a:uFillTx/>
                          <a:latin typeface="Arial"/>
                          <a:ea typeface="+mn-ea"/>
                          <a:cs typeface="Arial"/>
                        </a:rPr>
                        <a:t>Asset Lifecycle Assessment</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a:solidFill>
                        <a:schemeClr val="bg2"/>
                      </a:solidFill>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BASE-5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a:solidFill>
                        <a:schemeClr val="bg2"/>
                      </a:solidFill>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48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399</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4134659"/>
                  </a:ext>
                </a:extLst>
              </a:tr>
              <a:tr h="25631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BASE-15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673</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559</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19229434"/>
                  </a:ext>
                </a:extLst>
              </a:tr>
              <a:tr h="25631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BASE-3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865</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719</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37234599"/>
                  </a:ext>
                </a:extLst>
              </a:tr>
              <a:tr h="25631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BASE-5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1,154</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959</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50869238"/>
                  </a:ext>
                </a:extLst>
              </a:tr>
              <a:tr h="25631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RBM-ADD-1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192</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159</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54613364"/>
                  </a:ext>
                </a:extLst>
              </a:tr>
              <a:tr h="256312">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a:rPr>
                        <a:t>Predictiv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a:rPr>
                        <a:t>Maintenance</a:t>
                      </a:r>
                      <a:endParaRPr kumimoji="0" lang="en-US" sz="1200" b="1"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rowSpan="4">
                  <a:txBody>
                    <a:bodyPr/>
                    <a:lstStyle/>
                    <a:p>
                      <a:pPr>
                        <a:lnSpc>
                          <a:spcPct val="100000"/>
                        </a:lnSpc>
                      </a:pPr>
                      <a:r>
                        <a:rPr lang="en-US" sz="1100">
                          <a:solidFill>
                            <a:schemeClr val="tx1"/>
                          </a:solidFill>
                          <a:latin typeface="Arial"/>
                        </a:rPr>
                        <a:t>Add-on Application</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rowSpan="4">
                  <a:txBody>
                    <a:bodyPr/>
                    <a:lstStyle/>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Analytical rules</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Remote Digital PPM with compliance reports</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Service Case Management</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Maintenance Assist*</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Asset Health &amp; Operational Risk Assessment*</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Asset Reliabilit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PDM-BASE-5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1,443</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1,199</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912027779"/>
                  </a:ext>
                </a:extLst>
              </a:tr>
              <a:tr h="25631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PDM-BASE-1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2,598</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2,158</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1598449045"/>
                  </a:ext>
                </a:extLst>
              </a:tr>
              <a:tr h="25631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PDM-BASE-20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4,331</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3,598</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1173739765"/>
                  </a:ext>
                </a:extLst>
              </a:tr>
              <a:tr h="55341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Arial"/>
                          <a:ea typeface="+mn-ea"/>
                          <a:cs typeface="+mn-cs"/>
                        </a:rPr>
                        <a:t>BMS-PDM-ADD-10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192</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effectLst/>
                          <a:latin typeface="+mn-lt"/>
                          <a:ea typeface="+mn-ea"/>
                          <a:cs typeface="+mn-cs"/>
                        </a:rPr>
                        <a:t>£159</a:t>
                      </a:r>
                      <a:endParaRPr lang="en-US" sz="1100" b="0" kern="1200">
                        <a:solidFill>
                          <a:schemeClr val="tx1"/>
                        </a:solidFill>
                        <a:effectLst/>
                        <a:latin typeface="Arial"/>
                        <a:ea typeface="+mn-ea"/>
                        <a:cs typeface="+mn-cs"/>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3215740607"/>
                  </a:ext>
                </a:extLst>
              </a:tr>
              <a:tr h="131218">
                <a:tc row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Sustainabilit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rowSpan="8">
                  <a:txBody>
                    <a:bodyPr/>
                    <a:lstStyle/>
                    <a:p>
                      <a:pPr>
                        <a:lnSpc>
                          <a:spcPct val="100000"/>
                        </a:lnSpc>
                      </a:pPr>
                      <a:r>
                        <a:rPr lang="en-US" sz="1100">
                          <a:solidFill>
                            <a:schemeClr val="tx1"/>
                          </a:solidFill>
                          <a:latin typeface="Arial"/>
                        </a:rPr>
                        <a:t>Add-on Application</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rowSpan="8">
                  <a:txBody>
                    <a:bodyPr/>
                    <a:lstStyle/>
                    <a:p>
                      <a:pPr marL="115570" marR="0" lvl="0" indent="-115570" algn="l" rtl="0" eaLnBrk="1" fontAlgn="ctr"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spc="0" normalizeH="0" baseline="0">
                          <a:ln>
                            <a:noFill/>
                          </a:ln>
                          <a:solidFill>
                            <a:schemeClr val="tx1"/>
                          </a:solidFill>
                          <a:effectLst/>
                          <a:uLnTx/>
                          <a:uFillTx/>
                          <a:latin typeface="Arial"/>
                          <a:ea typeface="+mn-ea"/>
                          <a:cs typeface="Arial"/>
                        </a:rPr>
                        <a:t>Carbon &amp; Energy Management - </a:t>
                      </a:r>
                      <a:r>
                        <a:rPr kumimoji="0" lang="en-US" sz="1100" b="0" i="0" u="none" strike="noStrike" kern="1200" cap="none" spc="0" normalizeH="0" baseline="0">
                          <a:ln>
                            <a:noFill/>
                          </a:ln>
                          <a:solidFill>
                            <a:schemeClr val="tx1"/>
                          </a:solidFill>
                          <a:effectLst/>
                          <a:uLnTx/>
                          <a:uFillTx/>
                          <a:latin typeface="Arial"/>
                          <a:ea typeface="+mn-ea"/>
                          <a:cs typeface="Arial"/>
                        </a:rPr>
                        <a:t>Monitor</a:t>
                      </a:r>
                    </a:p>
                    <a:p>
                      <a:pPr marL="115570" marR="0" lvl="0" indent="-115570" algn="l" rtl="0" eaLnBrk="1" fontAlgn="ctr"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cap="none" spc="0" normalizeH="0" baseline="0" noProof="0">
                          <a:ln>
                            <a:noFill/>
                          </a:ln>
                          <a:solidFill>
                            <a:schemeClr val="tx1"/>
                          </a:solidFill>
                          <a:effectLst/>
                          <a:uLnTx/>
                          <a:uFillTx/>
                          <a:latin typeface="Arial"/>
                        </a:rPr>
                        <a:t>Carbon &amp; Energy Management -</a:t>
                      </a:r>
                      <a:r>
                        <a:rPr lang="en-US" sz="1100" b="0" i="0" u="none" strike="noStrike" kern="1200" cap="none" spc="0" normalizeH="0" baseline="0" noProof="0">
                          <a:ln>
                            <a:noFill/>
                          </a:ln>
                          <a:solidFill>
                            <a:schemeClr val="tx1"/>
                          </a:solidFill>
                          <a:effectLst/>
                          <a:uLnTx/>
                          <a:uFillTx/>
                          <a:latin typeface="Arial"/>
                          <a:ea typeface="+mn-ea"/>
                          <a:cs typeface="Arial"/>
                        </a:rPr>
                        <a:t> </a:t>
                      </a:r>
                      <a:r>
                        <a:rPr kumimoji="0" lang="en-US" sz="1100" b="0" i="0" u="none" strike="noStrike" kern="1200" cap="none" spc="0" normalizeH="0" baseline="0">
                          <a:ln>
                            <a:noFill/>
                          </a:ln>
                          <a:solidFill>
                            <a:schemeClr val="tx1"/>
                          </a:solidFill>
                          <a:effectLst/>
                          <a:uLnTx/>
                          <a:uFillTx/>
                          <a:latin typeface="Arial"/>
                          <a:ea typeface="+mn-ea"/>
                          <a:cs typeface="Arial"/>
                        </a:rPr>
                        <a:t>Optimize* </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Connected Power (Limited country availabilit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effectLst/>
                          <a:latin typeface="Arial"/>
                          <a:ea typeface="Aptos" panose="020B0004020202020204" pitchFamily="34" charset="0"/>
                        </a:rPr>
                        <a:t>BMS-CEM-BASE-01</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lgn="ctr"/>
                      <a:r>
                        <a:rPr lang="en-US" sz="1100" i="1">
                          <a:solidFill>
                            <a:schemeClr val="tx1"/>
                          </a:solidFill>
                          <a:effectLst/>
                          <a:latin typeface="Arial"/>
                          <a:ea typeface="Aptos" panose="020B0004020202020204" pitchFamily="34" charset="0"/>
                        </a:rPr>
                        <a:t>Tbc</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algn="ctr"/>
                      <a:r>
                        <a:rPr lang="en-US" sz="1100" i="1">
                          <a:solidFill>
                            <a:schemeClr val="tx1"/>
                          </a:solidFill>
                          <a:effectLst/>
                          <a:latin typeface="Arial"/>
                          <a:ea typeface="Aptos" panose="020B0004020202020204" pitchFamily="34" charset="0"/>
                        </a:rPr>
                        <a:t>Tbc</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3465801231"/>
                  </a:ext>
                </a:extLst>
              </a:tr>
              <a:tr h="25631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effectLst/>
                          <a:latin typeface="Arial"/>
                          <a:ea typeface="Aptos" panose="020B0004020202020204" pitchFamily="34" charset="0"/>
                        </a:rPr>
                        <a:t>BMS-CEM-ADV-01</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3116832104"/>
                  </a:ext>
                </a:extLst>
              </a:tr>
              <a:tr h="25631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effectLst/>
                          <a:latin typeface="Arial"/>
                          <a:ea typeface="Aptos" panose="020B0004020202020204" pitchFamily="34" charset="0"/>
                        </a:rPr>
                        <a:t>BMS-CEM-ADV-10</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611612085"/>
                  </a:ext>
                </a:extLst>
              </a:tr>
              <a:tr h="25631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effectLst/>
                          <a:latin typeface="Arial"/>
                          <a:ea typeface="Aptos" panose="020B0004020202020204" pitchFamily="34" charset="0"/>
                        </a:rPr>
                        <a:t>BMS-CEM-ADV-25</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101144392"/>
                  </a:ext>
                </a:extLst>
              </a:tr>
              <a:tr h="18797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Arial"/>
                        </a:rPr>
                        <a:t>CEM-CPWR25 </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1033961758"/>
                  </a:ext>
                </a:extLst>
              </a:tr>
              <a:tr h="18797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Arial"/>
                        </a:rPr>
                        <a:t>CEM-CPWR50 </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990532021"/>
                  </a:ext>
                </a:extLst>
              </a:tr>
              <a:tr h="18797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Arial"/>
                        </a:rPr>
                        <a:t>CEM-CPWR100 </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2181857336"/>
                  </a:ext>
                </a:extLst>
              </a:tr>
              <a:tr h="18797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Arial"/>
                        </a:rPr>
                        <a:t>CEM-CPWRADD5</a:t>
                      </a:r>
                      <a:endParaRPr lang="en-US" sz="1100">
                        <a:solidFill>
                          <a:schemeClr val="tx1"/>
                        </a:solidFill>
                        <a:effectLst/>
                        <a:latin typeface="Arial"/>
                        <a:ea typeface="Aptos" panose="020B0004020202020204" pitchFamily="34" charset="0"/>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a:solidFill>
                            <a:schemeClr val="tx1"/>
                          </a:solidFill>
                          <a:effectLst/>
                          <a:latin typeface="+mn-lt"/>
                          <a:ea typeface="Aptos" panose="020B0004020202020204" pitchFamily="34" charset="0"/>
                        </a:rPr>
                        <a:t>Tbc</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alpha val="10000"/>
                      </a:schemeClr>
                    </a:solidFill>
                  </a:tcPr>
                </a:tc>
                <a:extLst>
                  <a:ext uri="{0D108BD9-81ED-4DB2-BD59-A6C34878D82A}">
                    <a16:rowId xmlns:a16="http://schemas.microsoft.com/office/drawing/2014/main" val="2567457132"/>
                  </a:ext>
                </a:extLst>
              </a:tr>
              <a:tr h="703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Ins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Builder</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nSpc>
                          <a:spcPct val="100000"/>
                        </a:lnSpc>
                      </a:pPr>
                      <a:r>
                        <a:rPr lang="en-US" sz="1100">
                          <a:solidFill>
                            <a:schemeClr val="tx1"/>
                          </a:solidFill>
                          <a:latin typeface="Arial"/>
                        </a:rPr>
                        <a:t>Add-on Application</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Custom Report &amp; Dashboard Builder</a:t>
                      </a:r>
                    </a:p>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Product library with predefined templates*</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lgn="ctr"/>
                      <a:r>
                        <a:rPr lang="en-US" sz="1100">
                          <a:solidFill>
                            <a:schemeClr val="tx1"/>
                          </a:solidFill>
                          <a:effectLst/>
                          <a:latin typeface="Arial"/>
                          <a:ea typeface="Aptos" panose="020B0004020202020204" pitchFamily="34" charset="0"/>
                        </a:rPr>
                        <a:t>BMS-IB-ADD-5</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lgn="ctr"/>
                      <a:r>
                        <a:rPr lang="en-US" sz="1100" b="0" kern="1200">
                          <a:solidFill>
                            <a:schemeClr val="tx1"/>
                          </a:solidFill>
                          <a:effectLst/>
                          <a:latin typeface="+mn-lt"/>
                          <a:ea typeface="+mn-ea"/>
                          <a:cs typeface="+mn-cs"/>
                        </a:rPr>
                        <a:t>€2,405</a:t>
                      </a:r>
                      <a:endParaRPr lang="en-US" sz="1100">
                        <a:solidFill>
                          <a:schemeClr val="tx1"/>
                        </a:solidFill>
                        <a:effectLst/>
                        <a:latin typeface="Arial"/>
                        <a:ea typeface="Aptos" panose="020B0004020202020204" pitchFamily="34" charset="0"/>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lgn="ctr"/>
                      <a:r>
                        <a:rPr lang="en-US" sz="1100" b="0" kern="1200">
                          <a:solidFill>
                            <a:schemeClr val="tx1"/>
                          </a:solidFill>
                          <a:effectLst/>
                          <a:latin typeface="+mn-lt"/>
                          <a:ea typeface="+mn-ea"/>
                          <a:cs typeface="+mn-cs"/>
                        </a:rPr>
                        <a:t>£1,998</a:t>
                      </a:r>
                      <a:endParaRPr lang="en-US" sz="1100">
                        <a:solidFill>
                          <a:schemeClr val="tx1"/>
                        </a:solidFill>
                        <a:effectLst/>
                        <a:latin typeface="Arial"/>
                        <a:ea typeface="Aptos" panose="020B0004020202020204" pitchFamily="34" charset="0"/>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73498544"/>
                  </a:ext>
                </a:extLst>
              </a:tr>
              <a:tr h="3069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a:solidFill>
                            <a:schemeClr val="tx1"/>
                          </a:solidFill>
                          <a:latin typeface="Arial"/>
                        </a:rPr>
                        <a:t>Gatewa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nSpc>
                          <a:spcPct val="100000"/>
                        </a:lnSpc>
                      </a:pPr>
                      <a:r>
                        <a:rPr lang="en-US" sz="1100">
                          <a:solidFill>
                            <a:schemeClr val="tx1"/>
                          </a:solidFill>
                          <a:latin typeface="Arial"/>
                        </a:rPr>
                        <a:t>Hardware</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115570" marR="0" lvl="0" indent="-115570" algn="l"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100" b="0" i="0" u="none" strike="noStrike" kern="1200" cap="none" spc="0" normalizeH="0" baseline="0">
                          <a:ln>
                            <a:noFill/>
                          </a:ln>
                          <a:solidFill>
                            <a:schemeClr val="tx1"/>
                          </a:solidFill>
                          <a:effectLst/>
                          <a:uLnTx/>
                          <a:uFillTx/>
                          <a:latin typeface="Arial"/>
                          <a:ea typeface="+mn-ea"/>
                          <a:cs typeface="Arial"/>
                        </a:rPr>
                        <a:t>Honeywell Forge Gatewa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lgn="ctr"/>
                      <a:r>
                        <a:rPr lang="en-US" sz="1100">
                          <a:solidFill>
                            <a:schemeClr val="tx1"/>
                          </a:solidFill>
                          <a:effectLst/>
                          <a:latin typeface="Arial"/>
                          <a:ea typeface="Aptos" panose="020B0004020202020204" pitchFamily="34" charset="0"/>
                        </a:rPr>
                        <a:t>HFB-FC-FGW</a:t>
                      </a: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lgn="ctr"/>
                      <a:r>
                        <a:rPr lang="en-US" sz="1100" b="0" kern="1200">
                          <a:solidFill>
                            <a:schemeClr val="tx1"/>
                          </a:solidFill>
                          <a:effectLst/>
                          <a:latin typeface="+mn-lt"/>
                          <a:ea typeface="+mn-ea"/>
                          <a:cs typeface="+mn-cs"/>
                        </a:rPr>
                        <a:t>€384</a:t>
                      </a:r>
                      <a:endParaRPr lang="en-US" sz="1100">
                        <a:solidFill>
                          <a:schemeClr val="tx1"/>
                        </a:solidFill>
                        <a:effectLst/>
                        <a:latin typeface="Arial"/>
                        <a:ea typeface="Aptos" panose="020B0004020202020204" pitchFamily="34" charset="0"/>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algn="ctr"/>
                      <a:r>
                        <a:rPr lang="en-US" sz="1100" b="0" kern="1200">
                          <a:solidFill>
                            <a:schemeClr val="tx1"/>
                          </a:solidFill>
                          <a:effectLst/>
                          <a:latin typeface="+mn-lt"/>
                          <a:ea typeface="+mn-ea"/>
                          <a:cs typeface="+mn-cs"/>
                        </a:rPr>
                        <a:t>£319</a:t>
                      </a:r>
                      <a:endParaRPr lang="en-US" sz="1100">
                        <a:solidFill>
                          <a:schemeClr val="tx1"/>
                        </a:solidFill>
                        <a:effectLst/>
                        <a:latin typeface="Arial"/>
                        <a:ea typeface="Aptos" panose="020B0004020202020204" pitchFamily="34" charset="0"/>
                      </a:endParaRPr>
                    </a:p>
                  </a:txBody>
                  <a:tcPr marL="72000" marR="72000" marT="18000" marB="18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52754497"/>
                  </a:ext>
                </a:extLst>
              </a:tr>
            </a:tbl>
          </a:graphicData>
        </a:graphic>
      </p:graphicFrame>
      <p:sp>
        <p:nvSpPr>
          <p:cNvPr id="7" name="TextBox 6">
            <a:extLst>
              <a:ext uri="{FF2B5EF4-FFF2-40B4-BE49-F238E27FC236}">
                <a16:creationId xmlns:a16="http://schemas.microsoft.com/office/drawing/2014/main" id="{E4E55CD8-9B12-7E93-840E-69624C67AA71}"/>
              </a:ext>
            </a:extLst>
          </p:cNvPr>
          <p:cNvSpPr txBox="1"/>
          <p:nvPr/>
        </p:nvSpPr>
        <p:spPr>
          <a:xfrm>
            <a:off x="10930753" y="6658155"/>
            <a:ext cx="1651278" cy="261610"/>
          </a:xfrm>
          <a:prstGeom prst="rect">
            <a:avLst/>
          </a:prstGeom>
          <a:noFill/>
          <a:ln>
            <a:noFill/>
          </a:ln>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Coming soon  </a:t>
            </a:r>
          </a:p>
        </p:txBody>
      </p:sp>
    </p:spTree>
    <p:extLst>
      <p:ext uri="{BB962C8B-B14F-4D97-AF65-F5344CB8AC3E}">
        <p14:creationId xmlns:p14="http://schemas.microsoft.com/office/powerpoint/2010/main" val="33694054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ED7D4E-661C-5350-E13A-1D5F6FA4D9E7}"/>
              </a:ext>
            </a:extLst>
          </p:cNvPr>
          <p:cNvSpPr>
            <a:spLocks noGrp="1"/>
          </p:cNvSpPr>
          <p:nvPr>
            <p:ph type="sldNum" sz="quarter" idx="12"/>
          </p:nvPr>
        </p:nvSpPr>
        <p:spPr/>
        <p:txBody>
          <a:bodyPr/>
          <a:lstStyle/>
          <a:p>
            <a:fld id="{7B94EC18-1D2B-4535-B738-0E53AFE26620}" type="slidenum">
              <a:rPr lang="en-US" smtClean="0"/>
              <a:t>24</a:t>
            </a:fld>
            <a:endParaRPr lang="en-US"/>
          </a:p>
        </p:txBody>
      </p:sp>
      <p:sp>
        <p:nvSpPr>
          <p:cNvPr id="3" name="Title 2">
            <a:extLst>
              <a:ext uri="{FF2B5EF4-FFF2-40B4-BE49-F238E27FC236}">
                <a16:creationId xmlns:a16="http://schemas.microsoft.com/office/drawing/2014/main" id="{5EF21B8A-2B69-C55C-1458-DF4FDD23F774}"/>
              </a:ext>
            </a:extLst>
          </p:cNvPr>
          <p:cNvSpPr>
            <a:spLocks noGrp="1"/>
          </p:cNvSpPr>
          <p:nvPr>
            <p:ph type="title"/>
          </p:nvPr>
        </p:nvSpPr>
        <p:spPr>
          <a:xfrm>
            <a:off x="358819" y="427059"/>
            <a:ext cx="11446494" cy="797526"/>
          </a:xfrm>
        </p:spPr>
        <p:txBody>
          <a:bodyPr/>
          <a:lstStyle/>
          <a:p>
            <a:r>
              <a:rPr lang="en-US"/>
              <a:t>Value proposition &amp; VALUE WALK - partner</a:t>
            </a:r>
            <a:br>
              <a:rPr lang="en-US"/>
            </a:br>
            <a:r>
              <a:rPr lang="en-US">
                <a:solidFill>
                  <a:srgbClr val="FF0000"/>
                </a:solidFill>
              </a:rPr>
              <a:t>REMOTE BUILDING MANAGER  </a:t>
            </a:r>
          </a:p>
        </p:txBody>
      </p:sp>
      <mc:AlternateContent xmlns:mc="http://schemas.openxmlformats.org/markup-compatibility/2006" xmlns:cx1="http://schemas.microsoft.com/office/drawing/2015/9/8/chartex">
        <mc:Choice Requires="cx1">
          <p:graphicFrame>
            <p:nvGraphicFramePr>
              <p:cNvPr id="6" name="Chart 5">
                <a:extLst>
                  <a:ext uri="{FF2B5EF4-FFF2-40B4-BE49-F238E27FC236}">
                    <a16:creationId xmlns:a16="http://schemas.microsoft.com/office/drawing/2014/main" id="{1483B62F-EDE0-47CA-84FB-AE81C195A698}"/>
                  </a:ext>
                </a:extLst>
              </p:cNvPr>
              <p:cNvGraphicFramePr/>
              <p:nvPr>
                <p:extLst>
                  <p:ext uri="{D42A27DB-BD31-4B8C-83A1-F6EECF244321}">
                    <p14:modId xmlns:p14="http://schemas.microsoft.com/office/powerpoint/2010/main" val="2232623850"/>
                  </p:ext>
                </p:extLst>
              </p:nvPr>
            </p:nvGraphicFramePr>
            <p:xfrm>
              <a:off x="127348" y="1440493"/>
              <a:ext cx="11937304" cy="4496844"/>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6" name="Chart 5">
                <a:extLst>
                  <a:ext uri="{FF2B5EF4-FFF2-40B4-BE49-F238E27FC236}">
                    <a16:creationId xmlns:a16="http://schemas.microsoft.com/office/drawing/2014/main" id="{1483B62F-EDE0-47CA-84FB-AE81C195A698}"/>
                  </a:ext>
                </a:extLst>
              </p:cNvPr>
              <p:cNvPicPr>
                <a:picLocks noGrp="1" noRot="1" noChangeAspect="1" noMove="1" noResize="1" noEditPoints="1" noAdjustHandles="1" noChangeArrowheads="1" noChangeShapeType="1"/>
              </p:cNvPicPr>
              <p:nvPr/>
            </p:nvPicPr>
            <p:blipFill>
              <a:blip r:embed="rId3"/>
              <a:stretch>
                <a:fillRect/>
              </a:stretch>
            </p:blipFill>
            <p:spPr>
              <a:xfrm>
                <a:off x="127348" y="1440493"/>
                <a:ext cx="11937304" cy="4496844"/>
              </a:xfrm>
              <a:prstGeom prst="rect">
                <a:avLst/>
              </a:prstGeom>
            </p:spPr>
          </p:pic>
        </mc:Fallback>
      </mc:AlternateContent>
    </p:spTree>
    <p:extLst>
      <p:ext uri="{BB962C8B-B14F-4D97-AF65-F5344CB8AC3E}">
        <p14:creationId xmlns:p14="http://schemas.microsoft.com/office/powerpoint/2010/main" val="33183309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036631E-7824-AB4E-37F8-1F836A5BB800}"/>
              </a:ext>
            </a:extLst>
          </p:cNvPr>
          <p:cNvSpPr>
            <a:spLocks noGrp="1"/>
          </p:cNvSpPr>
          <p:nvPr>
            <p:ph type="sldNum" sz="quarter" idx="12"/>
          </p:nvPr>
        </p:nvSpPr>
        <p:spPr/>
        <p:txBody>
          <a:bodyPr/>
          <a:lstStyle/>
          <a:p>
            <a:fld id="{7B94EC18-1D2B-4535-B738-0E53AFE26620}" type="slidenum">
              <a:rPr lang="en-US" smtClean="0"/>
              <a:t>25</a:t>
            </a:fld>
            <a:endParaRPr lang="en-US"/>
          </a:p>
        </p:txBody>
      </p:sp>
      <p:sp>
        <p:nvSpPr>
          <p:cNvPr id="3" name="Title 2">
            <a:extLst>
              <a:ext uri="{FF2B5EF4-FFF2-40B4-BE49-F238E27FC236}">
                <a16:creationId xmlns:a16="http://schemas.microsoft.com/office/drawing/2014/main" id="{1227B244-4715-68FB-B780-4D488081FAA5}"/>
              </a:ext>
            </a:extLst>
          </p:cNvPr>
          <p:cNvSpPr>
            <a:spLocks noGrp="1"/>
          </p:cNvSpPr>
          <p:nvPr>
            <p:ph type="title"/>
          </p:nvPr>
        </p:nvSpPr>
        <p:spPr>
          <a:xfrm>
            <a:off x="358819" y="427059"/>
            <a:ext cx="11446494" cy="697883"/>
          </a:xfrm>
        </p:spPr>
        <p:txBody>
          <a:bodyPr/>
          <a:lstStyle/>
          <a:p>
            <a:r>
              <a:rPr lang="en-US"/>
              <a:t>Value proposition &amp; VALUE WALK – </a:t>
            </a:r>
            <a:br>
              <a:rPr lang="en-US"/>
            </a:br>
            <a:r>
              <a:rPr lang="en-US">
                <a:solidFill>
                  <a:srgbClr val="FF0000"/>
                </a:solidFill>
              </a:rPr>
              <a:t>REMOTE BUILDING MANAGER </a:t>
            </a:r>
            <a:endParaRPr lang="en-US"/>
          </a:p>
        </p:txBody>
      </p:sp>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ECA4F92D-7F3A-D405-69E2-198208DE4AF2}"/>
                  </a:ext>
                </a:extLst>
              </p:cNvPr>
              <p:cNvGraphicFramePr/>
              <p:nvPr/>
            </p:nvGraphicFramePr>
            <p:xfrm>
              <a:off x="0" y="1385093"/>
              <a:ext cx="12480925" cy="4594602"/>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4" name="Chart 3">
                <a:extLst>
                  <a:ext uri="{FF2B5EF4-FFF2-40B4-BE49-F238E27FC236}">
                    <a16:creationId xmlns:a16="http://schemas.microsoft.com/office/drawing/2014/main" id="{ECA4F92D-7F3A-D405-69E2-198208DE4AF2}"/>
                  </a:ext>
                </a:extLst>
              </p:cNvPr>
              <p:cNvPicPr>
                <a:picLocks noGrp="1" noRot="1" noChangeAspect="1" noMove="1" noResize="1" noEditPoints="1" noAdjustHandles="1" noChangeArrowheads="1" noChangeShapeType="1"/>
              </p:cNvPicPr>
              <p:nvPr/>
            </p:nvPicPr>
            <p:blipFill>
              <a:blip r:embed="rId3"/>
              <a:stretch>
                <a:fillRect/>
              </a:stretch>
            </p:blipFill>
            <p:spPr>
              <a:xfrm>
                <a:off x="0" y="1385093"/>
                <a:ext cx="12480925" cy="4594602"/>
              </a:xfrm>
              <a:prstGeom prst="rect">
                <a:avLst/>
              </a:prstGeom>
            </p:spPr>
          </p:pic>
        </mc:Fallback>
      </mc:AlternateContent>
    </p:spTree>
    <p:extLst>
      <p:ext uri="{BB962C8B-B14F-4D97-AF65-F5344CB8AC3E}">
        <p14:creationId xmlns:p14="http://schemas.microsoft.com/office/powerpoint/2010/main" val="27940393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B7DF4B-0867-8F43-6DE6-204FFA17208A}"/>
            </a:ext>
          </a:extLst>
        </p:cNvPr>
        <p:cNvGrpSpPr/>
        <p:nvPr/>
      </p:nvGrpSpPr>
      <p:grpSpPr>
        <a:xfrm>
          <a:off x="0" y="0"/>
          <a:ext cx="0" cy="0"/>
          <a:chOff x="0" y="0"/>
          <a:chExt cx="0" cy="0"/>
        </a:xfrm>
      </p:grpSpPr>
      <p:sp>
        <p:nvSpPr>
          <p:cNvPr id="4" name="Rectangle 3" hidden="1">
            <a:extLst>
              <a:ext uri="{FF2B5EF4-FFF2-40B4-BE49-F238E27FC236}">
                <a16:creationId xmlns:a16="http://schemas.microsoft.com/office/drawing/2014/main" id="{645E51F2-7DEE-D4F7-52E5-885C258CCC55}"/>
              </a:ext>
              <a:ext uri="{C183D7F6-B498-43B3-948B-1728B52AA6E4}">
                <adec:decorative xmlns:adec="http://schemas.microsoft.com/office/drawing/2017/decorative" val="1"/>
              </a:ext>
            </a:extLst>
          </p:cNvPr>
          <p:cNvSpPr/>
          <p:nvPr>
            <p:custDataLst>
              <p:tags r:id="rId1"/>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Slide Number Placeholder 6">
            <a:extLst>
              <a:ext uri="{FF2B5EF4-FFF2-40B4-BE49-F238E27FC236}">
                <a16:creationId xmlns:a16="http://schemas.microsoft.com/office/drawing/2014/main" id="{E614504A-E6B3-8A86-74A8-9EA639D026DC}"/>
              </a:ext>
              <a:ext uri="{C183D7F6-B498-43B3-948B-1728B52AA6E4}">
                <adec:decorative xmlns:adec="http://schemas.microsoft.com/office/drawing/2017/decorative" val="1"/>
              </a:ext>
            </a:extLst>
          </p:cNvPr>
          <p:cNvSpPr>
            <a:spLocks noGrp="1"/>
          </p:cNvSpPr>
          <p:nvPr>
            <p:ph type="sldNum" sz="quarter" idx="12"/>
          </p:nvPr>
        </p:nvSpPr>
        <p:spPr/>
        <p:txBody>
          <a:bodyPr/>
          <a:lstStyle/>
          <a:p>
            <a:fld id="{7B94EC18-1D2B-4535-B738-0E53AFE26620}" type="slidenum">
              <a:rPr lang="en-US" smtClean="0"/>
              <a:t>26</a:t>
            </a:fld>
            <a:endParaRPr lang="en-US"/>
          </a:p>
        </p:txBody>
      </p:sp>
      <p:sp>
        <p:nvSpPr>
          <p:cNvPr id="13" name="Title 12">
            <a:extLst>
              <a:ext uri="{FF2B5EF4-FFF2-40B4-BE49-F238E27FC236}">
                <a16:creationId xmlns:a16="http://schemas.microsoft.com/office/drawing/2014/main" id="{12F0CF3E-2F31-B8EB-9EC9-D4072B4AA6A1}"/>
              </a:ext>
            </a:extLst>
          </p:cNvPr>
          <p:cNvSpPr>
            <a:spLocks noGrp="1"/>
          </p:cNvSpPr>
          <p:nvPr>
            <p:ph type="title"/>
          </p:nvPr>
        </p:nvSpPr>
        <p:spPr>
          <a:xfrm>
            <a:off x="358819" y="273754"/>
            <a:ext cx="11446494" cy="443198"/>
          </a:xfrm>
        </p:spPr>
        <p:txBody>
          <a:bodyPr/>
          <a:lstStyle/>
          <a:p>
            <a:pPr>
              <a:lnSpc>
                <a:spcPct val="90000"/>
              </a:lnSpc>
              <a:spcBef>
                <a:spcPts val="0"/>
              </a:spcBef>
              <a:buClr>
                <a:srgbClr val="D22630"/>
              </a:buClr>
            </a:pPr>
            <a:r>
              <a:rPr lang="en-US" spc="-20">
                <a:cs typeface="Arial Black" panose="020B0604020202020204" pitchFamily="34" charset="0"/>
              </a:rPr>
              <a:t>Target Customer &amp; Target Verticals</a:t>
            </a:r>
          </a:p>
        </p:txBody>
      </p:sp>
      <p:sp>
        <p:nvSpPr>
          <p:cNvPr id="3" name="Content Placeholder 2">
            <a:extLst>
              <a:ext uri="{FF2B5EF4-FFF2-40B4-BE49-F238E27FC236}">
                <a16:creationId xmlns:a16="http://schemas.microsoft.com/office/drawing/2014/main" id="{E1620992-0C22-BA1F-E6CC-39168D46BE52}"/>
              </a:ext>
            </a:extLst>
          </p:cNvPr>
          <p:cNvSpPr>
            <a:spLocks noGrp="1"/>
          </p:cNvSpPr>
          <p:nvPr>
            <p:ph idx="17"/>
          </p:nvPr>
        </p:nvSpPr>
        <p:spPr>
          <a:xfrm>
            <a:off x="358820" y="1495418"/>
            <a:ext cx="5737180" cy="4267772"/>
          </a:xfrm>
          <a:ln>
            <a:solidFill>
              <a:schemeClr val="tx1"/>
            </a:solidFill>
          </a:ln>
        </p:spPr>
        <p:txBody>
          <a:bodyPr/>
          <a:lstStyle/>
          <a:p>
            <a:pPr marL="177800" marR="338455" indent="-171450">
              <a:spcBef>
                <a:spcPts val="100"/>
              </a:spcBef>
              <a:buFont typeface="Arial" panose="020B0604020202020204" pitchFamily="34" charset="0"/>
              <a:buChar char="•"/>
            </a:pPr>
            <a:r>
              <a:rPr lang="en-US" sz="2000" b="0">
                <a:solidFill>
                  <a:srgbClr val="231F20"/>
                </a:solidFill>
                <a:latin typeface="Arial" panose="020B0604020202020204" pitchFamily="34" charset="0"/>
                <a:cs typeface="Arial" panose="020B0604020202020204" pitchFamily="34" charset="0"/>
              </a:rPr>
              <a:t>System Integrators looking to leverage technology and differentiate their service offering.</a:t>
            </a:r>
          </a:p>
          <a:p>
            <a:pPr marL="177800" marR="338455" indent="-171450">
              <a:spcBef>
                <a:spcPts val="100"/>
              </a:spcBef>
              <a:buFont typeface="Arial" panose="020B0604020202020204" pitchFamily="34" charset="0"/>
              <a:buChar char="•"/>
            </a:pPr>
            <a:r>
              <a:rPr lang="en-US" sz="2000" b="0">
                <a:solidFill>
                  <a:srgbClr val="231F20"/>
                </a:solidFill>
                <a:latin typeface="Arial" panose="020B0604020202020204" pitchFamily="34" charset="0"/>
                <a:cs typeface="Arial" panose="020B0604020202020204" pitchFamily="34" charset="0"/>
              </a:rPr>
              <a:t>System integrators attempting to augment their labor force with off-site resources and reduce costs.</a:t>
            </a:r>
          </a:p>
          <a:p>
            <a:pPr marL="177800" marR="338455" indent="-171450">
              <a:spcBef>
                <a:spcPts val="100"/>
              </a:spcBef>
              <a:buFont typeface="Arial" panose="020B0604020202020204" pitchFamily="34" charset="0"/>
              <a:buChar char="•"/>
            </a:pPr>
            <a:r>
              <a:rPr lang="en-US" sz="2000" b="0" spc="-10">
                <a:solidFill>
                  <a:srgbClr val="231F20"/>
                </a:solidFill>
                <a:latin typeface="Arial" panose="020B0604020202020204" pitchFamily="34" charset="0"/>
                <a:cs typeface="Arial" panose="020B0604020202020204" pitchFamily="34" charset="0"/>
              </a:rPr>
              <a:t>Progressive Distributors trying to leverage technology to drive business growth</a:t>
            </a:r>
            <a:endParaRPr lang="en-US" sz="2000" b="0">
              <a:latin typeface="Arial" panose="020B0604020202020204" pitchFamily="34" charset="0"/>
              <a:cs typeface="Arial" panose="020B0604020202020204" pitchFamily="34" charset="0"/>
            </a:endParaRPr>
          </a:p>
          <a:p>
            <a:pPr lvl="0">
              <a:lnSpc>
                <a:spcPct val="100000"/>
              </a:lnSpc>
              <a:spcBef>
                <a:spcPts val="400"/>
              </a:spcBef>
            </a:pPr>
            <a:endParaRPr lang="en-US" b="0">
              <a:solidFill>
                <a:prstClr val="black"/>
              </a:solidFill>
            </a:endParaRPr>
          </a:p>
        </p:txBody>
      </p:sp>
      <p:sp>
        <p:nvSpPr>
          <p:cNvPr id="2" name="Content Placeholder 2">
            <a:extLst>
              <a:ext uri="{FF2B5EF4-FFF2-40B4-BE49-F238E27FC236}">
                <a16:creationId xmlns:a16="http://schemas.microsoft.com/office/drawing/2014/main" id="{8BEAC53C-5CA2-7BEF-0777-C9685A4AA0E6}"/>
              </a:ext>
            </a:extLst>
          </p:cNvPr>
          <p:cNvSpPr txBox="1">
            <a:spLocks/>
          </p:cNvSpPr>
          <p:nvPr/>
        </p:nvSpPr>
        <p:spPr>
          <a:xfrm>
            <a:off x="6236368" y="1501822"/>
            <a:ext cx="5737180" cy="4267772"/>
          </a:xfrm>
          <a:prstGeom prst="rect">
            <a:avLst/>
          </a:prstGeom>
          <a:ln>
            <a:solidFill>
              <a:schemeClr val="tx1"/>
            </a:solidFill>
          </a:ln>
        </p:spPr>
        <p:txBody>
          <a:bodyPr vert="horz" wrap="square" lIns="0" tIns="0" rIns="0" bIns="0" rtlCol="0">
            <a:noAutofit/>
          </a:bodyPr>
          <a:lstStyle>
            <a:lvl1pPr marL="0" indent="0" algn="l" defTabSz="914400" rtl="0" eaLnBrk="1" latinLnBrk="0" hangingPunct="1">
              <a:lnSpc>
                <a:spcPct val="100000"/>
              </a:lnSpc>
              <a:spcBef>
                <a:spcPts val="400"/>
              </a:spcBef>
              <a:spcAft>
                <a:spcPts val="0"/>
              </a:spcAft>
              <a:buClr>
                <a:schemeClr val="accent1"/>
              </a:buClr>
              <a:buFont typeface="+mj-lt"/>
              <a:buNone/>
              <a:defRPr sz="2400" b="1" kern="1200">
                <a:solidFill>
                  <a:schemeClr val="tx1"/>
                </a:solidFill>
                <a:latin typeface="+mn-lt"/>
                <a:ea typeface="+mn-ea"/>
                <a:cs typeface="+mn-cs"/>
              </a:defRPr>
            </a:lvl1pPr>
            <a:lvl2pPr marL="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100000"/>
              </a:lnSpc>
              <a:spcBef>
                <a:spcPts val="40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100000"/>
              </a:lnSpc>
              <a:spcBef>
                <a:spcPts val="40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100000"/>
              </a:lnSpc>
              <a:spcBef>
                <a:spcPts val="40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338455" indent="-171450">
              <a:spcBef>
                <a:spcPts val="100"/>
              </a:spcBef>
              <a:buFont typeface="Arial" panose="020B0604020202020204" pitchFamily="34" charset="0"/>
              <a:buChar char="•"/>
            </a:pPr>
            <a:r>
              <a:rPr lang="en-US" sz="2000" b="0">
                <a:solidFill>
                  <a:srgbClr val="231F20"/>
                </a:solidFill>
                <a:latin typeface="Arial" panose="020B0604020202020204" pitchFamily="34" charset="0"/>
                <a:cs typeface="Arial" panose="020B0604020202020204" pitchFamily="34" charset="0"/>
              </a:rPr>
              <a:t>Critical operations (24x7 operational requirements)  Verticals - pharmaceutical, hospitality, healthcare.</a:t>
            </a:r>
          </a:p>
          <a:p>
            <a:pPr marL="177800" marR="338455" indent="-171450">
              <a:spcBef>
                <a:spcPts val="100"/>
              </a:spcBef>
              <a:buFont typeface="Arial" panose="020B0604020202020204" pitchFamily="34" charset="0"/>
              <a:buChar char="•"/>
            </a:pPr>
            <a:r>
              <a:rPr lang="en-US" sz="2000" b="0">
                <a:solidFill>
                  <a:srgbClr val="231F20"/>
                </a:solidFill>
                <a:latin typeface="Arial" panose="020B0604020202020204" pitchFamily="34" charset="0"/>
                <a:cs typeface="Arial" panose="020B0604020202020204" pitchFamily="34" charset="0"/>
              </a:rPr>
              <a:t>Premium real estate, campus education</a:t>
            </a:r>
          </a:p>
          <a:p>
            <a:pPr marL="177800" marR="338455" indent="-171450">
              <a:spcBef>
                <a:spcPts val="100"/>
              </a:spcBef>
              <a:buFont typeface="Arial" panose="020B0604020202020204" pitchFamily="34" charset="0"/>
              <a:buChar char="•"/>
            </a:pPr>
            <a:r>
              <a:rPr lang="en-US" sz="2000" b="0">
                <a:solidFill>
                  <a:srgbClr val="231F20"/>
                </a:solidFill>
                <a:latin typeface="Arial" panose="020B0604020202020204" pitchFamily="34" charset="0"/>
                <a:cs typeface="Arial" panose="020B0604020202020204" pitchFamily="34" charset="0"/>
              </a:rPr>
              <a:t>Multi-site retail environments</a:t>
            </a:r>
          </a:p>
          <a:p>
            <a:endParaRPr lang="en-US" b="0">
              <a:solidFill>
                <a:prstClr val="black"/>
              </a:solidFill>
            </a:endParaRPr>
          </a:p>
        </p:txBody>
      </p:sp>
      <p:sp>
        <p:nvSpPr>
          <p:cNvPr id="6" name="TextBox 5">
            <a:extLst>
              <a:ext uri="{FF2B5EF4-FFF2-40B4-BE49-F238E27FC236}">
                <a16:creationId xmlns:a16="http://schemas.microsoft.com/office/drawing/2014/main" id="{CD6256D0-6472-12D7-36ED-6E7693B10ACC}"/>
              </a:ext>
            </a:extLst>
          </p:cNvPr>
          <p:cNvSpPr txBox="1"/>
          <p:nvPr/>
        </p:nvSpPr>
        <p:spPr>
          <a:xfrm>
            <a:off x="499311" y="1088555"/>
            <a:ext cx="6124072" cy="369332"/>
          </a:xfrm>
          <a:prstGeom prst="rect">
            <a:avLst/>
          </a:prstGeom>
          <a:noFill/>
        </p:spPr>
        <p:txBody>
          <a:bodyPr wrap="square">
            <a:spAutoFit/>
          </a:bodyPr>
          <a:lstStyle/>
          <a:p>
            <a:pPr marL="7938">
              <a:lnSpc>
                <a:spcPct val="100000"/>
              </a:lnSpc>
              <a:spcBef>
                <a:spcPts val="650"/>
              </a:spcBef>
            </a:pPr>
            <a:r>
              <a:rPr lang="en-US" sz="1800" b="1" spc="-50">
                <a:solidFill>
                  <a:srgbClr val="231F20"/>
                </a:solidFill>
                <a:latin typeface="Arial Black" panose="020B0604020202020204" pitchFamily="34" charset="0"/>
                <a:cs typeface="Arial Black" panose="020B0604020202020204" pitchFamily="34" charset="0"/>
              </a:rPr>
              <a:t>TARGET</a:t>
            </a:r>
            <a:r>
              <a:rPr lang="en-US" sz="1800" b="1" spc="-25">
                <a:solidFill>
                  <a:srgbClr val="231F20"/>
                </a:solidFill>
                <a:latin typeface="Arial Black" panose="020B0604020202020204" pitchFamily="34" charset="0"/>
                <a:cs typeface="Arial Black" panose="020B0604020202020204" pitchFamily="34" charset="0"/>
              </a:rPr>
              <a:t> </a:t>
            </a:r>
            <a:r>
              <a:rPr lang="en-US" sz="1800" b="1" spc="-10">
                <a:solidFill>
                  <a:srgbClr val="231F20"/>
                </a:solidFill>
                <a:latin typeface="Arial Black" panose="020B0604020202020204" pitchFamily="34" charset="0"/>
                <a:cs typeface="Arial Black" panose="020B0604020202020204" pitchFamily="34" charset="0"/>
              </a:rPr>
              <a:t>CUSTOMERS</a:t>
            </a:r>
            <a:endParaRPr lang="en-US" sz="1800" b="1">
              <a:latin typeface="Arial Black" panose="020B0604020202020204" pitchFamily="34" charset="0"/>
              <a:cs typeface="Arial Black" panose="020B0604020202020204" pitchFamily="34" charset="0"/>
            </a:endParaRPr>
          </a:p>
        </p:txBody>
      </p:sp>
      <p:sp>
        <p:nvSpPr>
          <p:cNvPr id="9" name="TextBox 8">
            <a:extLst>
              <a:ext uri="{FF2B5EF4-FFF2-40B4-BE49-F238E27FC236}">
                <a16:creationId xmlns:a16="http://schemas.microsoft.com/office/drawing/2014/main" id="{B0DAD2B3-2CE8-565C-FC2B-A9C33DC08F25}"/>
              </a:ext>
            </a:extLst>
          </p:cNvPr>
          <p:cNvSpPr txBox="1"/>
          <p:nvPr/>
        </p:nvSpPr>
        <p:spPr>
          <a:xfrm>
            <a:off x="6236368" y="1101362"/>
            <a:ext cx="5568945" cy="369332"/>
          </a:xfrm>
          <a:prstGeom prst="rect">
            <a:avLst/>
          </a:prstGeom>
          <a:noFill/>
        </p:spPr>
        <p:txBody>
          <a:bodyPr wrap="square">
            <a:spAutoFit/>
          </a:bodyPr>
          <a:lstStyle/>
          <a:p>
            <a:pPr marL="7938">
              <a:spcBef>
                <a:spcPts val="650"/>
              </a:spcBef>
            </a:pPr>
            <a:r>
              <a:rPr lang="en-US" sz="1800" b="1" spc="-50">
                <a:solidFill>
                  <a:srgbClr val="231F20"/>
                </a:solidFill>
                <a:latin typeface="Arial Black" panose="020B0604020202020204" pitchFamily="34" charset="0"/>
                <a:cs typeface="Arial Black" panose="020B0604020202020204" pitchFamily="34" charset="0"/>
              </a:rPr>
              <a:t>TARGET END-USER VERTICALS</a:t>
            </a:r>
          </a:p>
        </p:txBody>
      </p:sp>
    </p:spTree>
    <p:extLst>
      <p:ext uri="{BB962C8B-B14F-4D97-AF65-F5344CB8AC3E}">
        <p14:creationId xmlns:p14="http://schemas.microsoft.com/office/powerpoint/2010/main" val="27131660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59512-3B9A-5DB9-D8AB-724FB849A531}"/>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E3DCAA29-F672-C36F-AFED-69F019CD13A4}"/>
              </a:ext>
            </a:extLst>
          </p:cNvPr>
          <p:cNvSpPr>
            <a:spLocks noGrp="1"/>
          </p:cNvSpPr>
          <p:nvPr>
            <p:ph type="body" sz="quarter" idx="15"/>
          </p:nvPr>
        </p:nvSpPr>
        <p:spPr>
          <a:xfrm>
            <a:off x="649288" y="1990724"/>
            <a:ext cx="9923462" cy="2886076"/>
          </a:xfrm>
        </p:spPr>
        <p:txBody>
          <a:bodyPr/>
          <a:lstStyle/>
          <a:p>
            <a:r>
              <a:rPr lang="en-US"/>
              <a:t>QUIZ TIME</a:t>
            </a:r>
          </a:p>
        </p:txBody>
      </p:sp>
      <p:sp>
        <p:nvSpPr>
          <p:cNvPr id="2" name="BJPseudoFooter">
            <a:extLst>
              <a:ext uri="{FF2B5EF4-FFF2-40B4-BE49-F238E27FC236}">
                <a16:creationId xmlns:a16="http://schemas.microsoft.com/office/drawing/2014/main" id="{72B72AE4-3A53-5D13-C31E-03D7EAA40215}"/>
              </a:ext>
            </a:extLst>
          </p:cNvPr>
          <p:cNvSpPr txBox="1"/>
          <p:nvPr>
            <p:custDataLst>
              <p:tags r:id="rId1"/>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31847371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1BDFD1B-3C60-0D72-97B5-9B7D471B16AE}"/>
              </a:ext>
            </a:extLst>
          </p:cNvPr>
          <p:cNvSpPr>
            <a:spLocks noGrp="1"/>
          </p:cNvSpPr>
          <p:nvPr>
            <p:ph type="title" idx="4294967295"/>
          </p:nvPr>
        </p:nvSpPr>
        <p:spPr>
          <a:xfrm>
            <a:off x="342901" y="481566"/>
            <a:ext cx="3636818" cy="1939515"/>
          </a:xfrm>
        </p:spPr>
        <p:txBody>
          <a:bodyPr/>
          <a:lstStyle/>
          <a:p>
            <a:r>
              <a:rPr lang="en-US" sz="6600">
                <a:solidFill>
                  <a:schemeClr val="bg1"/>
                </a:solidFill>
              </a:rPr>
              <a:t>Thank </a:t>
            </a:r>
            <a:br>
              <a:rPr lang="en-US" sz="6600">
                <a:solidFill>
                  <a:schemeClr val="bg1"/>
                </a:solidFill>
              </a:rPr>
            </a:br>
            <a:r>
              <a:rPr lang="en-US" sz="6600">
                <a:solidFill>
                  <a:schemeClr val="bg1"/>
                </a:solidFill>
              </a:rPr>
              <a:t>You</a:t>
            </a:r>
          </a:p>
        </p:txBody>
      </p:sp>
    </p:spTree>
    <p:extLst>
      <p:ext uri="{BB962C8B-B14F-4D97-AF65-F5344CB8AC3E}">
        <p14:creationId xmlns:p14="http://schemas.microsoft.com/office/powerpoint/2010/main" val="14123934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F1DE3-89F7-7F5D-3A02-71F88914AAF4}"/>
            </a:ext>
          </a:extLst>
        </p:cNvPr>
        <p:cNvGrpSpPr/>
        <p:nvPr/>
      </p:nvGrpSpPr>
      <p:grpSpPr>
        <a:xfrm>
          <a:off x="0" y="0"/>
          <a:ext cx="0" cy="0"/>
          <a:chOff x="0" y="0"/>
          <a:chExt cx="0" cy="0"/>
        </a:xfrm>
      </p:grpSpPr>
      <p:graphicFrame>
        <p:nvGraphicFramePr>
          <p:cNvPr id="96" name="think-cell data - do not delete" hidden="1">
            <a:extLst>
              <a:ext uri="{FF2B5EF4-FFF2-40B4-BE49-F238E27FC236}">
                <a16:creationId xmlns:a16="http://schemas.microsoft.com/office/drawing/2014/main" id="{4C5FE25B-C99E-3568-9F83-4BB861947E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6" name="think-cell data - do not delete" hidden="1">
                        <a:extLst>
                          <a:ext uri="{FF2B5EF4-FFF2-40B4-BE49-F238E27FC236}">
                            <a16:creationId xmlns:a16="http://schemas.microsoft.com/office/drawing/2014/main" id="{4C5FE25B-C99E-3568-9F83-4BB861947E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A082AF-88CA-C609-4ABE-07A74D3678C4}"/>
              </a:ext>
            </a:extLst>
          </p:cNvPr>
          <p:cNvSpPr>
            <a:spLocks noGrp="1"/>
          </p:cNvSpPr>
          <p:nvPr>
            <p:ph type="title"/>
          </p:nvPr>
        </p:nvSpPr>
        <p:spPr>
          <a:xfrm>
            <a:off x="557784" y="347472"/>
            <a:ext cx="11594764" cy="353174"/>
          </a:xfrm>
        </p:spPr>
        <p:txBody>
          <a:bodyPr vert="horz"/>
          <a:lstStyle/>
          <a:p>
            <a:r>
              <a:rPr lang="en-US" sz="2800"/>
              <a:t>PARTNER BENEFITS</a:t>
            </a:r>
          </a:p>
        </p:txBody>
      </p:sp>
      <p:sp>
        <p:nvSpPr>
          <p:cNvPr id="3" name="Slide Number Placeholder 2">
            <a:extLst>
              <a:ext uri="{FF2B5EF4-FFF2-40B4-BE49-F238E27FC236}">
                <a16:creationId xmlns:a16="http://schemas.microsoft.com/office/drawing/2014/main" id="{9D8B3E63-9FE6-5FA5-0CE1-BB59D9A9B0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71" name="Freeform 16">
            <a:extLst>
              <a:ext uri="{FF2B5EF4-FFF2-40B4-BE49-F238E27FC236}">
                <a16:creationId xmlns:a16="http://schemas.microsoft.com/office/drawing/2014/main" id="{FC8822C3-2333-B49E-D64C-30F81FC1891D}"/>
              </a:ext>
            </a:extLst>
          </p:cNvPr>
          <p:cNvSpPr>
            <a:spLocks/>
          </p:cNvSpPr>
          <p:nvPr/>
        </p:nvSpPr>
        <p:spPr bwMode="auto">
          <a:xfrm>
            <a:off x="517095" y="2287705"/>
            <a:ext cx="3863296" cy="943343"/>
          </a:xfrm>
          <a:prstGeom prst="notchedRightArrow">
            <a:avLst>
              <a:gd name="adj1" fmla="val 100000"/>
              <a:gd name="adj2" fmla="val 50000"/>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Black"/>
                <a:ea typeface="+mn-ea"/>
                <a:cs typeface="+mn-cs"/>
              </a:rPr>
              <a:t>COST TO SERV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grpSp>
        <p:nvGrpSpPr>
          <p:cNvPr id="72" name="Group 71">
            <a:extLst>
              <a:ext uri="{FF2B5EF4-FFF2-40B4-BE49-F238E27FC236}">
                <a16:creationId xmlns:a16="http://schemas.microsoft.com/office/drawing/2014/main" id="{00EFE616-2E71-CBC6-EA83-A7B1C6A43763}"/>
              </a:ext>
            </a:extLst>
          </p:cNvPr>
          <p:cNvGrpSpPr/>
          <p:nvPr/>
        </p:nvGrpSpPr>
        <p:grpSpPr>
          <a:xfrm>
            <a:off x="1986921" y="1078058"/>
            <a:ext cx="923643" cy="1209647"/>
            <a:chOff x="1490191" y="1494217"/>
            <a:chExt cx="692732" cy="907235"/>
          </a:xfrm>
        </p:grpSpPr>
        <p:sp>
          <p:nvSpPr>
            <p:cNvPr id="73" name="Freeform 20">
              <a:extLst>
                <a:ext uri="{FF2B5EF4-FFF2-40B4-BE49-F238E27FC236}">
                  <a16:creationId xmlns:a16="http://schemas.microsoft.com/office/drawing/2014/main" id="{CEE064F1-E360-0E78-F35E-DE12694F51C6}"/>
                </a:ext>
              </a:extLst>
            </p:cNvPr>
            <p:cNvSpPr>
              <a:spLocks noEditPoints="1"/>
            </p:cNvSpPr>
            <p:nvPr/>
          </p:nvSpPr>
          <p:spPr bwMode="auto">
            <a:xfrm>
              <a:off x="1490191" y="1494217"/>
              <a:ext cx="692732" cy="69740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Arial"/>
                <a:ea typeface="+mn-ea"/>
                <a:cs typeface="+mn-cs"/>
              </a:endParaRPr>
            </a:p>
          </p:txBody>
        </p:sp>
        <p:cxnSp>
          <p:nvCxnSpPr>
            <p:cNvPr id="74" name="Straight Connector 73">
              <a:extLst>
                <a:ext uri="{FF2B5EF4-FFF2-40B4-BE49-F238E27FC236}">
                  <a16:creationId xmlns:a16="http://schemas.microsoft.com/office/drawing/2014/main" id="{C039729D-64BE-5E64-6A67-C944DD23B956}"/>
                </a:ext>
              </a:extLst>
            </p:cNvPr>
            <p:cNvCxnSpPr/>
            <p:nvPr/>
          </p:nvCxnSpPr>
          <p:spPr>
            <a:xfrm>
              <a:off x="1836557" y="2191617"/>
              <a:ext cx="0" cy="2098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3" name="Freeform 15">
            <a:extLst>
              <a:ext uri="{FF2B5EF4-FFF2-40B4-BE49-F238E27FC236}">
                <a16:creationId xmlns:a16="http://schemas.microsoft.com/office/drawing/2014/main" id="{BAAF5F89-F77F-EF4E-2205-C2E8DA9491FD}"/>
              </a:ext>
            </a:extLst>
          </p:cNvPr>
          <p:cNvSpPr>
            <a:spLocks/>
          </p:cNvSpPr>
          <p:nvPr/>
        </p:nvSpPr>
        <p:spPr bwMode="auto">
          <a:xfrm>
            <a:off x="4164355" y="2287705"/>
            <a:ext cx="3863296" cy="943343"/>
          </a:xfrm>
          <a:prstGeom prst="notchedRightArrow">
            <a:avLst>
              <a:gd name="adj1" fmla="val 100000"/>
              <a:gd name="adj2" fmla="val 50000"/>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Black"/>
                <a:ea typeface="+mn-ea"/>
                <a:cs typeface="+mn-cs"/>
              </a:rPr>
              <a:t>REVENUE GROWTH</a:t>
            </a:r>
          </a:p>
        </p:txBody>
      </p:sp>
      <p:grpSp>
        <p:nvGrpSpPr>
          <p:cNvPr id="84" name="Group 83">
            <a:extLst>
              <a:ext uri="{FF2B5EF4-FFF2-40B4-BE49-F238E27FC236}">
                <a16:creationId xmlns:a16="http://schemas.microsoft.com/office/drawing/2014/main" id="{BEB02C7A-B8F6-3BE3-ACAB-0C31CFE70AE5}"/>
              </a:ext>
            </a:extLst>
          </p:cNvPr>
          <p:cNvGrpSpPr/>
          <p:nvPr/>
        </p:nvGrpSpPr>
        <p:grpSpPr>
          <a:xfrm>
            <a:off x="5634179" y="1078057"/>
            <a:ext cx="923643" cy="1209648"/>
            <a:chOff x="1490191" y="1494217"/>
            <a:chExt cx="692732" cy="907236"/>
          </a:xfrm>
        </p:grpSpPr>
        <p:sp>
          <p:nvSpPr>
            <p:cNvPr id="85" name="Freeform 20">
              <a:extLst>
                <a:ext uri="{FF2B5EF4-FFF2-40B4-BE49-F238E27FC236}">
                  <a16:creationId xmlns:a16="http://schemas.microsoft.com/office/drawing/2014/main" id="{54AC844C-F199-DB3E-0DE2-D8018768C7EF}"/>
                </a:ext>
              </a:extLst>
            </p:cNvPr>
            <p:cNvSpPr>
              <a:spLocks noEditPoints="1"/>
            </p:cNvSpPr>
            <p:nvPr/>
          </p:nvSpPr>
          <p:spPr bwMode="auto">
            <a:xfrm>
              <a:off x="1490191" y="1494217"/>
              <a:ext cx="692732" cy="69740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Arial"/>
                <a:ea typeface="+mn-ea"/>
                <a:cs typeface="+mn-cs"/>
              </a:endParaRPr>
            </a:p>
          </p:txBody>
        </p:sp>
        <p:cxnSp>
          <p:nvCxnSpPr>
            <p:cNvPr id="86" name="Straight Connector 85">
              <a:extLst>
                <a:ext uri="{FF2B5EF4-FFF2-40B4-BE49-F238E27FC236}">
                  <a16:creationId xmlns:a16="http://schemas.microsoft.com/office/drawing/2014/main" id="{0ED94641-AB1A-2F74-F125-772A406FB8F8}"/>
                </a:ext>
              </a:extLst>
            </p:cNvPr>
            <p:cNvCxnSpPr/>
            <p:nvPr/>
          </p:nvCxnSpPr>
          <p:spPr>
            <a:xfrm>
              <a:off x="1836557" y="2191617"/>
              <a:ext cx="0" cy="209836"/>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0" name="Freeform 14">
            <a:extLst>
              <a:ext uri="{FF2B5EF4-FFF2-40B4-BE49-F238E27FC236}">
                <a16:creationId xmlns:a16="http://schemas.microsoft.com/office/drawing/2014/main" id="{90AB32F6-B29F-DBFA-B404-CA4BE6A1DAB1}"/>
              </a:ext>
            </a:extLst>
          </p:cNvPr>
          <p:cNvSpPr>
            <a:spLocks/>
          </p:cNvSpPr>
          <p:nvPr/>
        </p:nvSpPr>
        <p:spPr bwMode="auto">
          <a:xfrm>
            <a:off x="7811613" y="2287705"/>
            <a:ext cx="3863296" cy="943343"/>
          </a:xfrm>
          <a:prstGeom prst="notchedRightArrow">
            <a:avLst>
              <a:gd name="adj1" fmla="val 100000"/>
              <a:gd name="adj2" fmla="val 50000"/>
            </a:avLst>
          </a:prstGeom>
          <a:solidFill>
            <a:schemeClr val="accent3"/>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Black"/>
                <a:ea typeface="+mn-ea"/>
                <a:cs typeface="+mn-cs"/>
              </a:rPr>
              <a:t>DIFFERENTIATION</a:t>
            </a:r>
          </a:p>
        </p:txBody>
      </p:sp>
      <p:grpSp>
        <p:nvGrpSpPr>
          <p:cNvPr id="91" name="Group 90">
            <a:extLst>
              <a:ext uri="{FF2B5EF4-FFF2-40B4-BE49-F238E27FC236}">
                <a16:creationId xmlns:a16="http://schemas.microsoft.com/office/drawing/2014/main" id="{9423ED63-BB7D-3197-4139-6205615EEF3C}"/>
              </a:ext>
            </a:extLst>
          </p:cNvPr>
          <p:cNvGrpSpPr/>
          <p:nvPr/>
        </p:nvGrpSpPr>
        <p:grpSpPr>
          <a:xfrm>
            <a:off x="9281440" y="1078057"/>
            <a:ext cx="923643" cy="1209648"/>
            <a:chOff x="1490191" y="1494217"/>
            <a:chExt cx="692732" cy="907236"/>
          </a:xfrm>
        </p:grpSpPr>
        <p:sp>
          <p:nvSpPr>
            <p:cNvPr id="92" name="Freeform 20">
              <a:extLst>
                <a:ext uri="{FF2B5EF4-FFF2-40B4-BE49-F238E27FC236}">
                  <a16:creationId xmlns:a16="http://schemas.microsoft.com/office/drawing/2014/main" id="{A4F7E79C-1656-CBCB-1B86-1C2B977CBD43}"/>
                </a:ext>
              </a:extLst>
            </p:cNvPr>
            <p:cNvSpPr>
              <a:spLocks noEditPoints="1"/>
            </p:cNvSpPr>
            <p:nvPr/>
          </p:nvSpPr>
          <p:spPr bwMode="auto">
            <a:xfrm>
              <a:off x="1490191" y="1494217"/>
              <a:ext cx="692732" cy="697400"/>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Arial"/>
                <a:ea typeface="+mn-ea"/>
                <a:cs typeface="+mn-cs"/>
              </a:endParaRPr>
            </a:p>
          </p:txBody>
        </p:sp>
        <p:cxnSp>
          <p:nvCxnSpPr>
            <p:cNvPr id="93" name="Straight Connector 92">
              <a:extLst>
                <a:ext uri="{FF2B5EF4-FFF2-40B4-BE49-F238E27FC236}">
                  <a16:creationId xmlns:a16="http://schemas.microsoft.com/office/drawing/2014/main" id="{5A3CBF31-5D25-D126-24D8-322B793B348B}"/>
                </a:ext>
              </a:extLst>
            </p:cNvPr>
            <p:cNvCxnSpPr/>
            <p:nvPr/>
          </p:nvCxnSpPr>
          <p:spPr>
            <a:xfrm>
              <a:off x="1836557" y="2191617"/>
              <a:ext cx="0" cy="20983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98" name="Content Placeholder 8">
            <a:extLst>
              <a:ext uri="{FF2B5EF4-FFF2-40B4-BE49-F238E27FC236}">
                <a16:creationId xmlns:a16="http://schemas.microsoft.com/office/drawing/2014/main" id="{D6BA6E9F-88C0-E1B7-0C5F-C039F4B85014}"/>
              </a:ext>
            </a:extLst>
          </p:cNvPr>
          <p:cNvSpPr txBox="1">
            <a:spLocks/>
          </p:cNvSpPr>
          <p:nvPr/>
        </p:nvSpPr>
        <p:spPr>
          <a:xfrm>
            <a:off x="623974" y="3447614"/>
            <a:ext cx="3429000" cy="219498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Reduce ‘Cost to Serve’ across existing/ new customer site by establishing secure connectivity</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Enables remote analysis and fixes, reducing the need for multiple site visi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Target: 100% remote services</a:t>
            </a:r>
          </a:p>
        </p:txBody>
      </p:sp>
      <p:sp>
        <p:nvSpPr>
          <p:cNvPr id="99" name="Content Placeholder 8">
            <a:extLst>
              <a:ext uri="{FF2B5EF4-FFF2-40B4-BE49-F238E27FC236}">
                <a16:creationId xmlns:a16="http://schemas.microsoft.com/office/drawing/2014/main" id="{E9F0F4FF-724B-8317-002D-5F81C5D8BA7A}"/>
              </a:ext>
            </a:extLst>
          </p:cNvPr>
          <p:cNvSpPr txBox="1">
            <a:spLocks/>
          </p:cNvSpPr>
          <p:nvPr/>
        </p:nvSpPr>
        <p:spPr>
          <a:xfrm>
            <a:off x="4307413" y="3447614"/>
            <a:ext cx="3429000" cy="219498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Drive incremental revenue growth through monetization of apps</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Growth opportunities for customer identified through obsolescence assessment app</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Additional HBOC services  </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Improved spot sales</a:t>
            </a:r>
          </a:p>
        </p:txBody>
      </p:sp>
      <p:sp>
        <p:nvSpPr>
          <p:cNvPr id="100" name="Content Placeholder 8">
            <a:extLst>
              <a:ext uri="{FF2B5EF4-FFF2-40B4-BE49-F238E27FC236}">
                <a16:creationId xmlns:a16="http://schemas.microsoft.com/office/drawing/2014/main" id="{BCFB47B3-0F63-74A2-FBF6-540C59C25400}"/>
              </a:ext>
            </a:extLst>
          </p:cNvPr>
          <p:cNvSpPr txBox="1">
            <a:spLocks/>
          </p:cNvSpPr>
          <p:nvPr/>
        </p:nvSpPr>
        <p:spPr>
          <a:xfrm>
            <a:off x="7990853" y="3447614"/>
            <a:ext cx="3429000" cy="219498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Establish offering differentiation  by enabling vertical specific applications, </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Offering real-time insights and improved services</a:t>
            </a:r>
          </a:p>
          <a:p>
            <a:pPr marL="140400" marR="0" lvl="0" indent="-140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End to end offering </a:t>
            </a:r>
          </a:p>
        </p:txBody>
      </p:sp>
      <p:grpSp>
        <p:nvGrpSpPr>
          <p:cNvPr id="102" name="Group 101">
            <a:extLst>
              <a:ext uri="{FF2B5EF4-FFF2-40B4-BE49-F238E27FC236}">
                <a16:creationId xmlns:a16="http://schemas.microsoft.com/office/drawing/2014/main" id="{607B31BB-1A52-39D4-9A4E-97DD7ACF0E83}"/>
              </a:ext>
            </a:extLst>
          </p:cNvPr>
          <p:cNvGrpSpPr/>
          <p:nvPr/>
        </p:nvGrpSpPr>
        <p:grpSpPr>
          <a:xfrm>
            <a:off x="9501085" y="1309055"/>
            <a:ext cx="466322" cy="461038"/>
            <a:chOff x="7938" y="3449637"/>
            <a:chExt cx="560387" cy="554038"/>
          </a:xfrm>
          <a:solidFill>
            <a:schemeClr val="bg1"/>
          </a:solidFill>
        </p:grpSpPr>
        <p:sp>
          <p:nvSpPr>
            <p:cNvPr id="103" name="Freeform 5">
              <a:extLst>
                <a:ext uri="{FF2B5EF4-FFF2-40B4-BE49-F238E27FC236}">
                  <a16:creationId xmlns:a16="http://schemas.microsoft.com/office/drawing/2014/main" id="{0685F315-46A0-B3A2-5F2A-60A49CB97F08}"/>
                </a:ext>
              </a:extLst>
            </p:cNvPr>
            <p:cNvSpPr>
              <a:spLocks noEditPoints="1"/>
            </p:cNvSpPr>
            <p:nvPr/>
          </p:nvSpPr>
          <p:spPr bwMode="auto">
            <a:xfrm>
              <a:off x="101600" y="3641725"/>
              <a:ext cx="373062" cy="361950"/>
            </a:xfrm>
            <a:custGeom>
              <a:avLst/>
              <a:gdLst>
                <a:gd name="T0" fmla="*/ 208 w 308"/>
                <a:gd name="T1" fmla="*/ 151 h 298"/>
                <a:gd name="T2" fmla="*/ 237 w 308"/>
                <a:gd name="T3" fmla="*/ 88 h 298"/>
                <a:gd name="T4" fmla="*/ 237 w 308"/>
                <a:gd name="T5" fmla="*/ 83 h 298"/>
                <a:gd name="T6" fmla="*/ 154 w 308"/>
                <a:gd name="T7" fmla="*/ 0 h 298"/>
                <a:gd name="T8" fmla="*/ 71 w 308"/>
                <a:gd name="T9" fmla="*/ 83 h 298"/>
                <a:gd name="T10" fmla="*/ 71 w 308"/>
                <a:gd name="T11" fmla="*/ 88 h 298"/>
                <a:gd name="T12" fmla="*/ 100 w 308"/>
                <a:gd name="T13" fmla="*/ 151 h 298"/>
                <a:gd name="T14" fmla="*/ 0 w 308"/>
                <a:gd name="T15" fmla="*/ 285 h 298"/>
                <a:gd name="T16" fmla="*/ 13 w 308"/>
                <a:gd name="T17" fmla="*/ 298 h 298"/>
                <a:gd name="T18" fmla="*/ 295 w 308"/>
                <a:gd name="T19" fmla="*/ 298 h 298"/>
                <a:gd name="T20" fmla="*/ 308 w 308"/>
                <a:gd name="T21" fmla="*/ 285 h 298"/>
                <a:gd name="T22" fmla="*/ 208 w 308"/>
                <a:gd name="T23" fmla="*/ 151 h 298"/>
                <a:gd name="T24" fmla="*/ 97 w 308"/>
                <a:gd name="T25" fmla="*/ 88 h 298"/>
                <a:gd name="T26" fmla="*/ 97 w 308"/>
                <a:gd name="T27" fmla="*/ 83 h 298"/>
                <a:gd name="T28" fmla="*/ 154 w 308"/>
                <a:gd name="T29" fmla="*/ 26 h 298"/>
                <a:gd name="T30" fmla="*/ 211 w 308"/>
                <a:gd name="T31" fmla="*/ 83 h 298"/>
                <a:gd name="T32" fmla="*/ 211 w 308"/>
                <a:gd name="T33" fmla="*/ 88 h 298"/>
                <a:gd name="T34" fmla="*/ 154 w 308"/>
                <a:gd name="T35" fmla="*/ 145 h 298"/>
                <a:gd name="T36" fmla="*/ 97 w 308"/>
                <a:gd name="T37" fmla="*/ 88 h 298"/>
                <a:gd name="T38" fmla="*/ 27 w 308"/>
                <a:gd name="T39" fmla="*/ 272 h 298"/>
                <a:gd name="T40" fmla="*/ 141 w 308"/>
                <a:gd name="T41" fmla="*/ 171 h 298"/>
                <a:gd name="T42" fmla="*/ 167 w 308"/>
                <a:gd name="T43" fmla="*/ 171 h 298"/>
                <a:gd name="T44" fmla="*/ 281 w 308"/>
                <a:gd name="T45" fmla="*/ 272 h 298"/>
                <a:gd name="T46" fmla="*/ 27 w 308"/>
                <a:gd name="T47" fmla="*/ 27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298">
                  <a:moveTo>
                    <a:pt x="208" y="151"/>
                  </a:moveTo>
                  <a:cubicBezTo>
                    <a:pt x="226" y="136"/>
                    <a:pt x="237" y="113"/>
                    <a:pt x="237" y="88"/>
                  </a:cubicBezTo>
                  <a:cubicBezTo>
                    <a:pt x="237" y="83"/>
                    <a:pt x="237" y="83"/>
                    <a:pt x="237" y="83"/>
                  </a:cubicBezTo>
                  <a:cubicBezTo>
                    <a:pt x="237" y="37"/>
                    <a:pt x="200" y="0"/>
                    <a:pt x="154" y="0"/>
                  </a:cubicBezTo>
                  <a:cubicBezTo>
                    <a:pt x="108" y="0"/>
                    <a:pt x="71" y="37"/>
                    <a:pt x="71" y="83"/>
                  </a:cubicBezTo>
                  <a:cubicBezTo>
                    <a:pt x="71" y="88"/>
                    <a:pt x="71" y="88"/>
                    <a:pt x="71" y="88"/>
                  </a:cubicBezTo>
                  <a:cubicBezTo>
                    <a:pt x="71" y="113"/>
                    <a:pt x="82" y="136"/>
                    <a:pt x="100" y="151"/>
                  </a:cubicBezTo>
                  <a:cubicBezTo>
                    <a:pt x="42" y="168"/>
                    <a:pt x="0" y="222"/>
                    <a:pt x="0" y="285"/>
                  </a:cubicBezTo>
                  <a:cubicBezTo>
                    <a:pt x="0" y="292"/>
                    <a:pt x="6" y="298"/>
                    <a:pt x="13" y="298"/>
                  </a:cubicBezTo>
                  <a:cubicBezTo>
                    <a:pt x="295" y="298"/>
                    <a:pt x="295" y="298"/>
                    <a:pt x="295" y="298"/>
                  </a:cubicBezTo>
                  <a:cubicBezTo>
                    <a:pt x="302" y="298"/>
                    <a:pt x="308" y="292"/>
                    <a:pt x="308" y="285"/>
                  </a:cubicBezTo>
                  <a:cubicBezTo>
                    <a:pt x="308" y="222"/>
                    <a:pt x="266" y="168"/>
                    <a:pt x="208" y="151"/>
                  </a:cubicBezTo>
                  <a:close/>
                  <a:moveTo>
                    <a:pt x="97" y="88"/>
                  </a:moveTo>
                  <a:cubicBezTo>
                    <a:pt x="97" y="83"/>
                    <a:pt x="97" y="83"/>
                    <a:pt x="97" y="83"/>
                  </a:cubicBezTo>
                  <a:cubicBezTo>
                    <a:pt x="97" y="52"/>
                    <a:pt x="123" y="26"/>
                    <a:pt x="154" y="26"/>
                  </a:cubicBezTo>
                  <a:cubicBezTo>
                    <a:pt x="185" y="26"/>
                    <a:pt x="211" y="52"/>
                    <a:pt x="211" y="83"/>
                  </a:cubicBezTo>
                  <a:cubicBezTo>
                    <a:pt x="211" y="88"/>
                    <a:pt x="211" y="88"/>
                    <a:pt x="211" y="88"/>
                  </a:cubicBezTo>
                  <a:cubicBezTo>
                    <a:pt x="211" y="119"/>
                    <a:pt x="185" y="145"/>
                    <a:pt x="154" y="145"/>
                  </a:cubicBezTo>
                  <a:cubicBezTo>
                    <a:pt x="123" y="145"/>
                    <a:pt x="97" y="119"/>
                    <a:pt x="97" y="88"/>
                  </a:cubicBezTo>
                  <a:close/>
                  <a:moveTo>
                    <a:pt x="27" y="272"/>
                  </a:moveTo>
                  <a:cubicBezTo>
                    <a:pt x="34" y="215"/>
                    <a:pt x="82" y="171"/>
                    <a:pt x="141" y="171"/>
                  </a:cubicBezTo>
                  <a:cubicBezTo>
                    <a:pt x="167" y="171"/>
                    <a:pt x="167" y="171"/>
                    <a:pt x="167" y="171"/>
                  </a:cubicBezTo>
                  <a:cubicBezTo>
                    <a:pt x="226" y="171"/>
                    <a:pt x="274" y="215"/>
                    <a:pt x="281" y="272"/>
                  </a:cubicBezTo>
                  <a:lnTo>
                    <a:pt x="27"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4" name="Freeform 6">
              <a:extLst>
                <a:ext uri="{FF2B5EF4-FFF2-40B4-BE49-F238E27FC236}">
                  <a16:creationId xmlns:a16="http://schemas.microsoft.com/office/drawing/2014/main" id="{61F866D6-1487-0548-6978-63CDF4DF6833}"/>
                </a:ext>
              </a:extLst>
            </p:cNvPr>
            <p:cNvSpPr>
              <a:spLocks noEditPoints="1"/>
            </p:cNvSpPr>
            <p:nvPr/>
          </p:nvSpPr>
          <p:spPr bwMode="auto">
            <a:xfrm>
              <a:off x="200025" y="3449637"/>
              <a:ext cx="176212" cy="165100"/>
            </a:xfrm>
            <a:custGeom>
              <a:avLst/>
              <a:gdLst>
                <a:gd name="T0" fmla="*/ 142 w 144"/>
                <a:gd name="T1" fmla="*/ 51 h 136"/>
                <a:gd name="T2" fmla="*/ 134 w 144"/>
                <a:gd name="T3" fmla="*/ 42 h 136"/>
                <a:gd name="T4" fmla="*/ 102 w 144"/>
                <a:gd name="T5" fmla="*/ 32 h 136"/>
                <a:gd name="T6" fmla="*/ 83 w 144"/>
                <a:gd name="T7" fmla="*/ 5 h 136"/>
                <a:gd name="T8" fmla="*/ 72 w 144"/>
                <a:gd name="T9" fmla="*/ 0 h 136"/>
                <a:gd name="T10" fmla="*/ 61 w 144"/>
                <a:gd name="T11" fmla="*/ 5 h 136"/>
                <a:gd name="T12" fmla="*/ 42 w 144"/>
                <a:gd name="T13" fmla="*/ 32 h 136"/>
                <a:gd name="T14" fmla="*/ 10 w 144"/>
                <a:gd name="T15" fmla="*/ 42 h 136"/>
                <a:gd name="T16" fmla="*/ 2 w 144"/>
                <a:gd name="T17" fmla="*/ 51 h 136"/>
                <a:gd name="T18" fmla="*/ 4 w 144"/>
                <a:gd name="T19" fmla="*/ 63 h 136"/>
                <a:gd name="T20" fmla="*/ 23 w 144"/>
                <a:gd name="T21" fmla="*/ 89 h 136"/>
                <a:gd name="T22" fmla="*/ 23 w 144"/>
                <a:gd name="T23" fmla="*/ 122 h 136"/>
                <a:gd name="T24" fmla="*/ 29 w 144"/>
                <a:gd name="T25" fmla="*/ 133 h 136"/>
                <a:gd name="T26" fmla="*/ 36 w 144"/>
                <a:gd name="T27" fmla="*/ 136 h 136"/>
                <a:gd name="T28" fmla="*/ 41 w 144"/>
                <a:gd name="T29" fmla="*/ 135 h 136"/>
                <a:gd name="T30" fmla="*/ 72 w 144"/>
                <a:gd name="T31" fmla="*/ 125 h 136"/>
                <a:gd name="T32" fmla="*/ 103 w 144"/>
                <a:gd name="T33" fmla="*/ 135 h 136"/>
                <a:gd name="T34" fmla="*/ 115 w 144"/>
                <a:gd name="T35" fmla="*/ 133 h 136"/>
                <a:gd name="T36" fmla="*/ 121 w 144"/>
                <a:gd name="T37" fmla="*/ 122 h 136"/>
                <a:gd name="T38" fmla="*/ 121 w 144"/>
                <a:gd name="T39" fmla="*/ 89 h 136"/>
                <a:gd name="T40" fmla="*/ 140 w 144"/>
                <a:gd name="T41" fmla="*/ 63 h 136"/>
                <a:gd name="T42" fmla="*/ 142 w 144"/>
                <a:gd name="T43" fmla="*/ 51 h 136"/>
                <a:gd name="T44" fmla="*/ 97 w 144"/>
                <a:gd name="T45" fmla="*/ 77 h 136"/>
                <a:gd name="T46" fmla="*/ 94 w 144"/>
                <a:gd name="T47" fmla="*/ 85 h 136"/>
                <a:gd name="T48" fmla="*/ 94 w 144"/>
                <a:gd name="T49" fmla="*/ 104 h 136"/>
                <a:gd name="T50" fmla="*/ 76 w 144"/>
                <a:gd name="T51" fmla="*/ 98 h 136"/>
                <a:gd name="T52" fmla="*/ 72 w 144"/>
                <a:gd name="T53" fmla="*/ 97 h 136"/>
                <a:gd name="T54" fmla="*/ 68 w 144"/>
                <a:gd name="T55" fmla="*/ 98 h 136"/>
                <a:gd name="T56" fmla="*/ 50 w 144"/>
                <a:gd name="T57" fmla="*/ 104 h 136"/>
                <a:gd name="T58" fmla="*/ 50 w 144"/>
                <a:gd name="T59" fmla="*/ 85 h 136"/>
                <a:gd name="T60" fmla="*/ 47 w 144"/>
                <a:gd name="T61" fmla="*/ 77 h 136"/>
                <a:gd name="T62" fmla="*/ 36 w 144"/>
                <a:gd name="T63" fmla="*/ 62 h 136"/>
                <a:gd name="T64" fmla="*/ 54 w 144"/>
                <a:gd name="T65" fmla="*/ 56 h 136"/>
                <a:gd name="T66" fmla="*/ 61 w 144"/>
                <a:gd name="T67" fmla="*/ 51 h 136"/>
                <a:gd name="T68" fmla="*/ 72 w 144"/>
                <a:gd name="T69" fmla="*/ 35 h 136"/>
                <a:gd name="T70" fmla="*/ 83 w 144"/>
                <a:gd name="T71" fmla="*/ 51 h 136"/>
                <a:gd name="T72" fmla="*/ 90 w 144"/>
                <a:gd name="T73" fmla="*/ 56 h 136"/>
                <a:gd name="T74" fmla="*/ 108 w 144"/>
                <a:gd name="T75" fmla="*/ 62 h 136"/>
                <a:gd name="T76" fmla="*/ 97 w 144"/>
                <a:gd name="T77" fmla="*/ 7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36">
                  <a:moveTo>
                    <a:pt x="142" y="51"/>
                  </a:moveTo>
                  <a:cubicBezTo>
                    <a:pt x="141" y="47"/>
                    <a:pt x="138" y="43"/>
                    <a:pt x="134" y="42"/>
                  </a:cubicBezTo>
                  <a:cubicBezTo>
                    <a:pt x="102" y="32"/>
                    <a:pt x="102" y="32"/>
                    <a:pt x="102" y="32"/>
                  </a:cubicBezTo>
                  <a:cubicBezTo>
                    <a:pt x="83" y="5"/>
                    <a:pt x="83" y="5"/>
                    <a:pt x="83" y="5"/>
                  </a:cubicBezTo>
                  <a:cubicBezTo>
                    <a:pt x="80" y="2"/>
                    <a:pt x="76" y="0"/>
                    <a:pt x="72" y="0"/>
                  </a:cubicBezTo>
                  <a:cubicBezTo>
                    <a:pt x="68" y="0"/>
                    <a:pt x="64" y="2"/>
                    <a:pt x="61" y="5"/>
                  </a:cubicBezTo>
                  <a:cubicBezTo>
                    <a:pt x="42" y="32"/>
                    <a:pt x="42" y="32"/>
                    <a:pt x="42" y="32"/>
                  </a:cubicBezTo>
                  <a:cubicBezTo>
                    <a:pt x="10" y="42"/>
                    <a:pt x="10" y="42"/>
                    <a:pt x="10" y="42"/>
                  </a:cubicBezTo>
                  <a:cubicBezTo>
                    <a:pt x="6" y="43"/>
                    <a:pt x="3" y="47"/>
                    <a:pt x="2" y="51"/>
                  </a:cubicBezTo>
                  <a:cubicBezTo>
                    <a:pt x="0" y="55"/>
                    <a:pt x="1" y="59"/>
                    <a:pt x="4" y="63"/>
                  </a:cubicBezTo>
                  <a:cubicBezTo>
                    <a:pt x="23" y="89"/>
                    <a:pt x="23" y="89"/>
                    <a:pt x="23" y="89"/>
                  </a:cubicBezTo>
                  <a:cubicBezTo>
                    <a:pt x="23" y="122"/>
                    <a:pt x="23" y="122"/>
                    <a:pt x="23" y="122"/>
                  </a:cubicBezTo>
                  <a:cubicBezTo>
                    <a:pt x="23" y="127"/>
                    <a:pt x="25" y="131"/>
                    <a:pt x="29" y="133"/>
                  </a:cubicBezTo>
                  <a:cubicBezTo>
                    <a:pt x="31" y="135"/>
                    <a:pt x="34" y="136"/>
                    <a:pt x="36" y="136"/>
                  </a:cubicBezTo>
                  <a:cubicBezTo>
                    <a:pt x="38" y="136"/>
                    <a:pt x="39" y="136"/>
                    <a:pt x="41" y="135"/>
                  </a:cubicBezTo>
                  <a:cubicBezTo>
                    <a:pt x="72" y="125"/>
                    <a:pt x="72" y="125"/>
                    <a:pt x="72" y="125"/>
                  </a:cubicBezTo>
                  <a:cubicBezTo>
                    <a:pt x="103" y="135"/>
                    <a:pt x="103" y="135"/>
                    <a:pt x="103" y="135"/>
                  </a:cubicBezTo>
                  <a:cubicBezTo>
                    <a:pt x="108" y="136"/>
                    <a:pt x="112" y="136"/>
                    <a:pt x="115" y="133"/>
                  </a:cubicBezTo>
                  <a:cubicBezTo>
                    <a:pt x="119" y="131"/>
                    <a:pt x="121" y="127"/>
                    <a:pt x="121" y="122"/>
                  </a:cubicBezTo>
                  <a:cubicBezTo>
                    <a:pt x="121" y="89"/>
                    <a:pt x="121" y="89"/>
                    <a:pt x="121" y="89"/>
                  </a:cubicBezTo>
                  <a:cubicBezTo>
                    <a:pt x="140" y="63"/>
                    <a:pt x="140" y="63"/>
                    <a:pt x="140" y="63"/>
                  </a:cubicBezTo>
                  <a:cubicBezTo>
                    <a:pt x="143" y="59"/>
                    <a:pt x="144" y="55"/>
                    <a:pt x="142" y="51"/>
                  </a:cubicBezTo>
                  <a:close/>
                  <a:moveTo>
                    <a:pt x="97" y="77"/>
                  </a:moveTo>
                  <a:cubicBezTo>
                    <a:pt x="95" y="79"/>
                    <a:pt x="94" y="82"/>
                    <a:pt x="94" y="85"/>
                  </a:cubicBezTo>
                  <a:cubicBezTo>
                    <a:pt x="94" y="104"/>
                    <a:pt x="94" y="104"/>
                    <a:pt x="94" y="104"/>
                  </a:cubicBezTo>
                  <a:cubicBezTo>
                    <a:pt x="76" y="98"/>
                    <a:pt x="76" y="98"/>
                    <a:pt x="76" y="98"/>
                  </a:cubicBezTo>
                  <a:cubicBezTo>
                    <a:pt x="75" y="98"/>
                    <a:pt x="73" y="97"/>
                    <a:pt x="72" y="97"/>
                  </a:cubicBezTo>
                  <a:cubicBezTo>
                    <a:pt x="71" y="97"/>
                    <a:pt x="69" y="98"/>
                    <a:pt x="68" y="98"/>
                  </a:cubicBezTo>
                  <a:cubicBezTo>
                    <a:pt x="50" y="104"/>
                    <a:pt x="50" y="104"/>
                    <a:pt x="50" y="104"/>
                  </a:cubicBezTo>
                  <a:cubicBezTo>
                    <a:pt x="50" y="85"/>
                    <a:pt x="50" y="85"/>
                    <a:pt x="50" y="85"/>
                  </a:cubicBezTo>
                  <a:cubicBezTo>
                    <a:pt x="50" y="82"/>
                    <a:pt x="49" y="79"/>
                    <a:pt x="47" y="77"/>
                  </a:cubicBezTo>
                  <a:cubicBezTo>
                    <a:pt x="36" y="62"/>
                    <a:pt x="36" y="62"/>
                    <a:pt x="36" y="62"/>
                  </a:cubicBezTo>
                  <a:cubicBezTo>
                    <a:pt x="54" y="56"/>
                    <a:pt x="54" y="56"/>
                    <a:pt x="54" y="56"/>
                  </a:cubicBezTo>
                  <a:cubicBezTo>
                    <a:pt x="57" y="55"/>
                    <a:pt x="59" y="53"/>
                    <a:pt x="61" y="51"/>
                  </a:cubicBezTo>
                  <a:cubicBezTo>
                    <a:pt x="72" y="35"/>
                    <a:pt x="72" y="35"/>
                    <a:pt x="72" y="35"/>
                  </a:cubicBezTo>
                  <a:cubicBezTo>
                    <a:pt x="83" y="51"/>
                    <a:pt x="83" y="51"/>
                    <a:pt x="83" y="51"/>
                  </a:cubicBezTo>
                  <a:cubicBezTo>
                    <a:pt x="85" y="53"/>
                    <a:pt x="87" y="55"/>
                    <a:pt x="90" y="56"/>
                  </a:cubicBezTo>
                  <a:cubicBezTo>
                    <a:pt x="108" y="62"/>
                    <a:pt x="108" y="62"/>
                    <a:pt x="108" y="6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5" name="Freeform 7">
              <a:extLst>
                <a:ext uri="{FF2B5EF4-FFF2-40B4-BE49-F238E27FC236}">
                  <a16:creationId xmlns:a16="http://schemas.microsoft.com/office/drawing/2014/main" id="{BD5DAF38-E901-0530-882C-8006B51F6BE7}"/>
                </a:ext>
              </a:extLst>
            </p:cNvPr>
            <p:cNvSpPr>
              <a:spLocks noEditPoints="1"/>
            </p:cNvSpPr>
            <p:nvPr/>
          </p:nvSpPr>
          <p:spPr bwMode="auto">
            <a:xfrm>
              <a:off x="393700" y="3497263"/>
              <a:ext cx="174625" cy="166688"/>
            </a:xfrm>
            <a:custGeom>
              <a:avLst/>
              <a:gdLst>
                <a:gd name="T0" fmla="*/ 141 w 143"/>
                <a:gd name="T1" fmla="*/ 51 h 137"/>
                <a:gd name="T2" fmla="*/ 133 w 143"/>
                <a:gd name="T3" fmla="*/ 43 h 137"/>
                <a:gd name="T4" fmla="*/ 101 w 143"/>
                <a:gd name="T5" fmla="*/ 33 h 137"/>
                <a:gd name="T6" fmla="*/ 82 w 143"/>
                <a:gd name="T7" fmla="*/ 6 h 137"/>
                <a:gd name="T8" fmla="*/ 71 w 143"/>
                <a:gd name="T9" fmla="*/ 0 h 137"/>
                <a:gd name="T10" fmla="*/ 60 w 143"/>
                <a:gd name="T11" fmla="*/ 6 h 137"/>
                <a:gd name="T12" fmla="*/ 41 w 143"/>
                <a:gd name="T13" fmla="*/ 33 h 137"/>
                <a:gd name="T14" fmla="*/ 9 w 143"/>
                <a:gd name="T15" fmla="*/ 43 h 137"/>
                <a:gd name="T16" fmla="*/ 1 w 143"/>
                <a:gd name="T17" fmla="*/ 51 h 137"/>
                <a:gd name="T18" fmla="*/ 3 w 143"/>
                <a:gd name="T19" fmla="*/ 63 h 137"/>
                <a:gd name="T20" fmla="*/ 23 w 143"/>
                <a:gd name="T21" fmla="*/ 90 h 137"/>
                <a:gd name="T22" fmla="*/ 22 w 143"/>
                <a:gd name="T23" fmla="*/ 123 h 137"/>
                <a:gd name="T24" fmla="*/ 28 w 143"/>
                <a:gd name="T25" fmla="*/ 134 h 137"/>
                <a:gd name="T26" fmla="*/ 40 w 143"/>
                <a:gd name="T27" fmla="*/ 136 h 137"/>
                <a:gd name="T28" fmla="*/ 71 w 143"/>
                <a:gd name="T29" fmla="*/ 125 h 137"/>
                <a:gd name="T30" fmla="*/ 103 w 143"/>
                <a:gd name="T31" fmla="*/ 136 h 137"/>
                <a:gd name="T32" fmla="*/ 107 w 143"/>
                <a:gd name="T33" fmla="*/ 136 h 137"/>
                <a:gd name="T34" fmla="*/ 115 w 143"/>
                <a:gd name="T35" fmla="*/ 134 h 137"/>
                <a:gd name="T36" fmla="*/ 120 w 143"/>
                <a:gd name="T37" fmla="*/ 123 h 137"/>
                <a:gd name="T38" fmla="*/ 120 w 143"/>
                <a:gd name="T39" fmla="*/ 90 h 137"/>
                <a:gd name="T40" fmla="*/ 139 w 143"/>
                <a:gd name="T41" fmla="*/ 63 h 137"/>
                <a:gd name="T42" fmla="*/ 141 w 143"/>
                <a:gd name="T43" fmla="*/ 51 h 137"/>
                <a:gd name="T44" fmla="*/ 96 w 143"/>
                <a:gd name="T45" fmla="*/ 78 h 137"/>
                <a:gd name="T46" fmla="*/ 93 w 143"/>
                <a:gd name="T47" fmla="*/ 86 h 137"/>
                <a:gd name="T48" fmla="*/ 93 w 143"/>
                <a:gd name="T49" fmla="*/ 105 h 137"/>
                <a:gd name="T50" fmla="*/ 75 w 143"/>
                <a:gd name="T51" fmla="*/ 99 h 137"/>
                <a:gd name="T52" fmla="*/ 71 w 143"/>
                <a:gd name="T53" fmla="*/ 98 h 137"/>
                <a:gd name="T54" fmla="*/ 67 w 143"/>
                <a:gd name="T55" fmla="*/ 99 h 137"/>
                <a:gd name="T56" fmla="*/ 49 w 143"/>
                <a:gd name="T57" fmla="*/ 105 h 137"/>
                <a:gd name="T58" fmla="*/ 49 w 143"/>
                <a:gd name="T59" fmla="*/ 86 h 137"/>
                <a:gd name="T60" fmla="*/ 46 w 143"/>
                <a:gd name="T61" fmla="*/ 78 h 137"/>
                <a:gd name="T62" fmla="*/ 35 w 143"/>
                <a:gd name="T63" fmla="*/ 62 h 137"/>
                <a:gd name="T64" fmla="*/ 53 w 143"/>
                <a:gd name="T65" fmla="*/ 57 h 137"/>
                <a:gd name="T66" fmla="*/ 60 w 143"/>
                <a:gd name="T67" fmla="*/ 52 h 137"/>
                <a:gd name="T68" fmla="*/ 71 w 143"/>
                <a:gd name="T69" fmla="*/ 36 h 137"/>
                <a:gd name="T70" fmla="*/ 82 w 143"/>
                <a:gd name="T71" fmla="*/ 52 h 137"/>
                <a:gd name="T72" fmla="*/ 89 w 143"/>
                <a:gd name="T73" fmla="*/ 57 h 137"/>
                <a:gd name="T74" fmla="*/ 107 w 143"/>
                <a:gd name="T75" fmla="*/ 62 h 137"/>
                <a:gd name="T76" fmla="*/ 96 w 143"/>
                <a:gd name="T77" fmla="*/ 7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3" h="137">
                  <a:moveTo>
                    <a:pt x="141" y="51"/>
                  </a:moveTo>
                  <a:cubicBezTo>
                    <a:pt x="140" y="47"/>
                    <a:pt x="137" y="44"/>
                    <a:pt x="133" y="43"/>
                  </a:cubicBezTo>
                  <a:cubicBezTo>
                    <a:pt x="101" y="33"/>
                    <a:pt x="101" y="33"/>
                    <a:pt x="101" y="33"/>
                  </a:cubicBezTo>
                  <a:cubicBezTo>
                    <a:pt x="82" y="6"/>
                    <a:pt x="82" y="6"/>
                    <a:pt x="82" y="6"/>
                  </a:cubicBezTo>
                  <a:cubicBezTo>
                    <a:pt x="79" y="2"/>
                    <a:pt x="75" y="0"/>
                    <a:pt x="71" y="0"/>
                  </a:cubicBezTo>
                  <a:cubicBezTo>
                    <a:pt x="67" y="0"/>
                    <a:pt x="63" y="2"/>
                    <a:pt x="60" y="6"/>
                  </a:cubicBezTo>
                  <a:cubicBezTo>
                    <a:pt x="41" y="33"/>
                    <a:pt x="41" y="33"/>
                    <a:pt x="41" y="33"/>
                  </a:cubicBezTo>
                  <a:cubicBezTo>
                    <a:pt x="9" y="43"/>
                    <a:pt x="9" y="43"/>
                    <a:pt x="9" y="43"/>
                  </a:cubicBezTo>
                  <a:cubicBezTo>
                    <a:pt x="5" y="44"/>
                    <a:pt x="2" y="47"/>
                    <a:pt x="1" y="51"/>
                  </a:cubicBezTo>
                  <a:cubicBezTo>
                    <a:pt x="0" y="55"/>
                    <a:pt x="0" y="60"/>
                    <a:pt x="3" y="63"/>
                  </a:cubicBezTo>
                  <a:cubicBezTo>
                    <a:pt x="23" y="90"/>
                    <a:pt x="23" y="90"/>
                    <a:pt x="23" y="90"/>
                  </a:cubicBezTo>
                  <a:cubicBezTo>
                    <a:pt x="22" y="123"/>
                    <a:pt x="22" y="123"/>
                    <a:pt x="22" y="123"/>
                  </a:cubicBezTo>
                  <a:cubicBezTo>
                    <a:pt x="22" y="127"/>
                    <a:pt x="24" y="131"/>
                    <a:pt x="28" y="134"/>
                  </a:cubicBezTo>
                  <a:cubicBezTo>
                    <a:pt x="31" y="136"/>
                    <a:pt x="36" y="137"/>
                    <a:pt x="40" y="136"/>
                  </a:cubicBezTo>
                  <a:cubicBezTo>
                    <a:pt x="71" y="125"/>
                    <a:pt x="71" y="125"/>
                    <a:pt x="71" y="125"/>
                  </a:cubicBezTo>
                  <a:cubicBezTo>
                    <a:pt x="103" y="136"/>
                    <a:pt x="103" y="136"/>
                    <a:pt x="103" y="136"/>
                  </a:cubicBezTo>
                  <a:cubicBezTo>
                    <a:pt x="104" y="136"/>
                    <a:pt x="105" y="136"/>
                    <a:pt x="107" y="136"/>
                  </a:cubicBezTo>
                  <a:cubicBezTo>
                    <a:pt x="110" y="136"/>
                    <a:pt x="112" y="135"/>
                    <a:pt x="115" y="134"/>
                  </a:cubicBezTo>
                  <a:cubicBezTo>
                    <a:pt x="118" y="131"/>
                    <a:pt x="120" y="127"/>
                    <a:pt x="120" y="123"/>
                  </a:cubicBezTo>
                  <a:cubicBezTo>
                    <a:pt x="120" y="90"/>
                    <a:pt x="120" y="90"/>
                    <a:pt x="120" y="90"/>
                  </a:cubicBezTo>
                  <a:cubicBezTo>
                    <a:pt x="139" y="63"/>
                    <a:pt x="139" y="63"/>
                    <a:pt x="139" y="63"/>
                  </a:cubicBezTo>
                  <a:cubicBezTo>
                    <a:pt x="142" y="60"/>
                    <a:pt x="143" y="55"/>
                    <a:pt x="141" y="51"/>
                  </a:cubicBezTo>
                  <a:close/>
                  <a:moveTo>
                    <a:pt x="96" y="78"/>
                  </a:moveTo>
                  <a:cubicBezTo>
                    <a:pt x="94" y="80"/>
                    <a:pt x="93" y="83"/>
                    <a:pt x="93" y="86"/>
                  </a:cubicBezTo>
                  <a:cubicBezTo>
                    <a:pt x="93" y="105"/>
                    <a:pt x="93" y="105"/>
                    <a:pt x="93" y="105"/>
                  </a:cubicBezTo>
                  <a:cubicBezTo>
                    <a:pt x="75" y="99"/>
                    <a:pt x="75" y="99"/>
                    <a:pt x="75" y="99"/>
                  </a:cubicBezTo>
                  <a:cubicBezTo>
                    <a:pt x="74" y="98"/>
                    <a:pt x="73" y="98"/>
                    <a:pt x="71" y="98"/>
                  </a:cubicBezTo>
                  <a:cubicBezTo>
                    <a:pt x="70" y="98"/>
                    <a:pt x="68" y="98"/>
                    <a:pt x="67" y="99"/>
                  </a:cubicBezTo>
                  <a:cubicBezTo>
                    <a:pt x="49" y="105"/>
                    <a:pt x="49" y="105"/>
                    <a:pt x="49" y="105"/>
                  </a:cubicBezTo>
                  <a:cubicBezTo>
                    <a:pt x="49" y="86"/>
                    <a:pt x="49" y="86"/>
                    <a:pt x="49" y="86"/>
                  </a:cubicBezTo>
                  <a:cubicBezTo>
                    <a:pt x="49" y="83"/>
                    <a:pt x="48" y="80"/>
                    <a:pt x="46" y="78"/>
                  </a:cubicBezTo>
                  <a:cubicBezTo>
                    <a:pt x="35" y="62"/>
                    <a:pt x="35" y="62"/>
                    <a:pt x="35" y="62"/>
                  </a:cubicBezTo>
                  <a:cubicBezTo>
                    <a:pt x="53" y="57"/>
                    <a:pt x="53" y="57"/>
                    <a:pt x="53" y="57"/>
                  </a:cubicBezTo>
                  <a:cubicBezTo>
                    <a:pt x="56" y="56"/>
                    <a:pt x="58" y="54"/>
                    <a:pt x="60" y="52"/>
                  </a:cubicBezTo>
                  <a:cubicBezTo>
                    <a:pt x="71" y="36"/>
                    <a:pt x="71" y="36"/>
                    <a:pt x="71" y="36"/>
                  </a:cubicBezTo>
                  <a:cubicBezTo>
                    <a:pt x="82" y="52"/>
                    <a:pt x="82" y="52"/>
                    <a:pt x="82" y="52"/>
                  </a:cubicBezTo>
                  <a:cubicBezTo>
                    <a:pt x="84" y="54"/>
                    <a:pt x="86" y="56"/>
                    <a:pt x="89" y="57"/>
                  </a:cubicBezTo>
                  <a:cubicBezTo>
                    <a:pt x="107" y="62"/>
                    <a:pt x="107" y="62"/>
                    <a:pt x="107" y="62"/>
                  </a:cubicBezTo>
                  <a:lnTo>
                    <a:pt x="9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6" name="Freeform 8">
              <a:extLst>
                <a:ext uri="{FF2B5EF4-FFF2-40B4-BE49-F238E27FC236}">
                  <a16:creationId xmlns:a16="http://schemas.microsoft.com/office/drawing/2014/main" id="{20799DD3-0968-D4B0-EC36-31260068C413}"/>
                </a:ext>
              </a:extLst>
            </p:cNvPr>
            <p:cNvSpPr>
              <a:spLocks noEditPoints="1"/>
            </p:cNvSpPr>
            <p:nvPr/>
          </p:nvSpPr>
          <p:spPr bwMode="auto">
            <a:xfrm>
              <a:off x="7938" y="3497263"/>
              <a:ext cx="174625" cy="166688"/>
            </a:xfrm>
            <a:custGeom>
              <a:avLst/>
              <a:gdLst>
                <a:gd name="T0" fmla="*/ 142 w 143"/>
                <a:gd name="T1" fmla="*/ 51 h 137"/>
                <a:gd name="T2" fmla="*/ 134 w 143"/>
                <a:gd name="T3" fmla="*/ 43 h 137"/>
                <a:gd name="T4" fmla="*/ 102 w 143"/>
                <a:gd name="T5" fmla="*/ 33 h 137"/>
                <a:gd name="T6" fmla="*/ 83 w 143"/>
                <a:gd name="T7" fmla="*/ 6 h 137"/>
                <a:gd name="T8" fmla="*/ 72 w 143"/>
                <a:gd name="T9" fmla="*/ 0 h 137"/>
                <a:gd name="T10" fmla="*/ 61 w 143"/>
                <a:gd name="T11" fmla="*/ 6 h 137"/>
                <a:gd name="T12" fmla="*/ 42 w 143"/>
                <a:gd name="T13" fmla="*/ 33 h 137"/>
                <a:gd name="T14" fmla="*/ 10 w 143"/>
                <a:gd name="T15" fmla="*/ 43 h 137"/>
                <a:gd name="T16" fmla="*/ 2 w 143"/>
                <a:gd name="T17" fmla="*/ 51 h 137"/>
                <a:gd name="T18" fmla="*/ 4 w 143"/>
                <a:gd name="T19" fmla="*/ 63 h 137"/>
                <a:gd name="T20" fmla="*/ 23 w 143"/>
                <a:gd name="T21" fmla="*/ 90 h 137"/>
                <a:gd name="T22" fmla="*/ 23 w 143"/>
                <a:gd name="T23" fmla="*/ 123 h 137"/>
                <a:gd name="T24" fmla="*/ 28 w 143"/>
                <a:gd name="T25" fmla="*/ 134 h 137"/>
                <a:gd name="T26" fmla="*/ 40 w 143"/>
                <a:gd name="T27" fmla="*/ 136 h 137"/>
                <a:gd name="T28" fmla="*/ 72 w 143"/>
                <a:gd name="T29" fmla="*/ 125 h 137"/>
                <a:gd name="T30" fmla="*/ 103 w 143"/>
                <a:gd name="T31" fmla="*/ 136 h 137"/>
                <a:gd name="T32" fmla="*/ 108 w 143"/>
                <a:gd name="T33" fmla="*/ 136 h 137"/>
                <a:gd name="T34" fmla="*/ 115 w 143"/>
                <a:gd name="T35" fmla="*/ 134 h 137"/>
                <a:gd name="T36" fmla="*/ 121 w 143"/>
                <a:gd name="T37" fmla="*/ 123 h 137"/>
                <a:gd name="T38" fmla="*/ 120 w 143"/>
                <a:gd name="T39" fmla="*/ 90 h 137"/>
                <a:gd name="T40" fmla="*/ 140 w 143"/>
                <a:gd name="T41" fmla="*/ 63 h 137"/>
                <a:gd name="T42" fmla="*/ 142 w 143"/>
                <a:gd name="T43" fmla="*/ 51 h 137"/>
                <a:gd name="T44" fmla="*/ 97 w 143"/>
                <a:gd name="T45" fmla="*/ 78 h 137"/>
                <a:gd name="T46" fmla="*/ 94 w 143"/>
                <a:gd name="T47" fmla="*/ 86 h 137"/>
                <a:gd name="T48" fmla="*/ 94 w 143"/>
                <a:gd name="T49" fmla="*/ 105 h 137"/>
                <a:gd name="T50" fmla="*/ 76 w 143"/>
                <a:gd name="T51" fmla="*/ 99 h 137"/>
                <a:gd name="T52" fmla="*/ 72 w 143"/>
                <a:gd name="T53" fmla="*/ 98 h 137"/>
                <a:gd name="T54" fmla="*/ 68 w 143"/>
                <a:gd name="T55" fmla="*/ 99 h 137"/>
                <a:gd name="T56" fmla="*/ 50 w 143"/>
                <a:gd name="T57" fmla="*/ 105 h 137"/>
                <a:gd name="T58" fmla="*/ 50 w 143"/>
                <a:gd name="T59" fmla="*/ 86 h 137"/>
                <a:gd name="T60" fmla="*/ 47 w 143"/>
                <a:gd name="T61" fmla="*/ 78 h 137"/>
                <a:gd name="T62" fmla="*/ 36 w 143"/>
                <a:gd name="T63" fmla="*/ 62 h 137"/>
                <a:gd name="T64" fmla="*/ 54 w 143"/>
                <a:gd name="T65" fmla="*/ 57 h 137"/>
                <a:gd name="T66" fmla="*/ 61 w 143"/>
                <a:gd name="T67" fmla="*/ 52 h 137"/>
                <a:gd name="T68" fmla="*/ 72 w 143"/>
                <a:gd name="T69" fmla="*/ 36 h 137"/>
                <a:gd name="T70" fmla="*/ 83 w 143"/>
                <a:gd name="T71" fmla="*/ 52 h 137"/>
                <a:gd name="T72" fmla="*/ 90 w 143"/>
                <a:gd name="T73" fmla="*/ 57 h 137"/>
                <a:gd name="T74" fmla="*/ 108 w 143"/>
                <a:gd name="T75" fmla="*/ 62 h 137"/>
                <a:gd name="T76" fmla="*/ 97 w 143"/>
                <a:gd name="T77" fmla="*/ 7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3" h="137">
                  <a:moveTo>
                    <a:pt x="142" y="51"/>
                  </a:moveTo>
                  <a:cubicBezTo>
                    <a:pt x="141" y="47"/>
                    <a:pt x="138" y="44"/>
                    <a:pt x="134" y="43"/>
                  </a:cubicBezTo>
                  <a:cubicBezTo>
                    <a:pt x="102" y="33"/>
                    <a:pt x="102" y="33"/>
                    <a:pt x="102" y="33"/>
                  </a:cubicBezTo>
                  <a:cubicBezTo>
                    <a:pt x="83" y="6"/>
                    <a:pt x="83" y="6"/>
                    <a:pt x="83" y="6"/>
                  </a:cubicBezTo>
                  <a:cubicBezTo>
                    <a:pt x="80" y="2"/>
                    <a:pt x="76" y="0"/>
                    <a:pt x="72" y="0"/>
                  </a:cubicBezTo>
                  <a:cubicBezTo>
                    <a:pt x="68" y="0"/>
                    <a:pt x="64" y="2"/>
                    <a:pt x="61" y="6"/>
                  </a:cubicBezTo>
                  <a:cubicBezTo>
                    <a:pt x="42" y="33"/>
                    <a:pt x="42" y="33"/>
                    <a:pt x="42" y="33"/>
                  </a:cubicBezTo>
                  <a:cubicBezTo>
                    <a:pt x="10" y="43"/>
                    <a:pt x="10" y="43"/>
                    <a:pt x="10" y="43"/>
                  </a:cubicBezTo>
                  <a:cubicBezTo>
                    <a:pt x="6" y="44"/>
                    <a:pt x="3" y="47"/>
                    <a:pt x="2" y="51"/>
                  </a:cubicBezTo>
                  <a:cubicBezTo>
                    <a:pt x="0" y="55"/>
                    <a:pt x="1" y="60"/>
                    <a:pt x="4" y="63"/>
                  </a:cubicBezTo>
                  <a:cubicBezTo>
                    <a:pt x="23" y="90"/>
                    <a:pt x="23" y="90"/>
                    <a:pt x="23" y="90"/>
                  </a:cubicBezTo>
                  <a:cubicBezTo>
                    <a:pt x="23" y="123"/>
                    <a:pt x="23" y="123"/>
                    <a:pt x="23" y="123"/>
                  </a:cubicBezTo>
                  <a:cubicBezTo>
                    <a:pt x="23" y="127"/>
                    <a:pt x="25" y="131"/>
                    <a:pt x="28" y="134"/>
                  </a:cubicBezTo>
                  <a:cubicBezTo>
                    <a:pt x="32" y="136"/>
                    <a:pt x="36" y="137"/>
                    <a:pt x="40" y="136"/>
                  </a:cubicBezTo>
                  <a:cubicBezTo>
                    <a:pt x="72" y="125"/>
                    <a:pt x="72" y="125"/>
                    <a:pt x="72" y="125"/>
                  </a:cubicBezTo>
                  <a:cubicBezTo>
                    <a:pt x="103" y="136"/>
                    <a:pt x="103" y="136"/>
                    <a:pt x="103" y="136"/>
                  </a:cubicBezTo>
                  <a:cubicBezTo>
                    <a:pt x="105" y="136"/>
                    <a:pt x="106" y="136"/>
                    <a:pt x="108" y="136"/>
                  </a:cubicBezTo>
                  <a:cubicBezTo>
                    <a:pt x="110" y="136"/>
                    <a:pt x="113" y="135"/>
                    <a:pt x="115" y="134"/>
                  </a:cubicBezTo>
                  <a:cubicBezTo>
                    <a:pt x="119" y="131"/>
                    <a:pt x="121" y="127"/>
                    <a:pt x="121" y="123"/>
                  </a:cubicBezTo>
                  <a:cubicBezTo>
                    <a:pt x="120" y="90"/>
                    <a:pt x="120" y="90"/>
                    <a:pt x="120" y="90"/>
                  </a:cubicBezTo>
                  <a:cubicBezTo>
                    <a:pt x="140" y="63"/>
                    <a:pt x="140" y="63"/>
                    <a:pt x="140" y="63"/>
                  </a:cubicBezTo>
                  <a:cubicBezTo>
                    <a:pt x="143" y="60"/>
                    <a:pt x="143" y="55"/>
                    <a:pt x="142" y="51"/>
                  </a:cubicBezTo>
                  <a:close/>
                  <a:moveTo>
                    <a:pt x="97" y="78"/>
                  </a:moveTo>
                  <a:cubicBezTo>
                    <a:pt x="95" y="80"/>
                    <a:pt x="94" y="83"/>
                    <a:pt x="94" y="86"/>
                  </a:cubicBezTo>
                  <a:cubicBezTo>
                    <a:pt x="94" y="105"/>
                    <a:pt x="94" y="105"/>
                    <a:pt x="94" y="105"/>
                  </a:cubicBezTo>
                  <a:cubicBezTo>
                    <a:pt x="76" y="99"/>
                    <a:pt x="76" y="99"/>
                    <a:pt x="76" y="99"/>
                  </a:cubicBezTo>
                  <a:cubicBezTo>
                    <a:pt x="75" y="98"/>
                    <a:pt x="73" y="98"/>
                    <a:pt x="72" y="98"/>
                  </a:cubicBezTo>
                  <a:cubicBezTo>
                    <a:pt x="70" y="98"/>
                    <a:pt x="69" y="98"/>
                    <a:pt x="68" y="99"/>
                  </a:cubicBezTo>
                  <a:cubicBezTo>
                    <a:pt x="50" y="105"/>
                    <a:pt x="50" y="105"/>
                    <a:pt x="50" y="105"/>
                  </a:cubicBezTo>
                  <a:cubicBezTo>
                    <a:pt x="50" y="86"/>
                    <a:pt x="50" y="86"/>
                    <a:pt x="50" y="86"/>
                  </a:cubicBezTo>
                  <a:cubicBezTo>
                    <a:pt x="50" y="83"/>
                    <a:pt x="49" y="80"/>
                    <a:pt x="47" y="78"/>
                  </a:cubicBezTo>
                  <a:cubicBezTo>
                    <a:pt x="36" y="62"/>
                    <a:pt x="36" y="62"/>
                    <a:pt x="36" y="62"/>
                  </a:cubicBezTo>
                  <a:cubicBezTo>
                    <a:pt x="54" y="57"/>
                    <a:pt x="54" y="57"/>
                    <a:pt x="54" y="57"/>
                  </a:cubicBezTo>
                  <a:cubicBezTo>
                    <a:pt x="57" y="56"/>
                    <a:pt x="59" y="54"/>
                    <a:pt x="61" y="52"/>
                  </a:cubicBezTo>
                  <a:cubicBezTo>
                    <a:pt x="72" y="36"/>
                    <a:pt x="72" y="36"/>
                    <a:pt x="72" y="36"/>
                  </a:cubicBezTo>
                  <a:cubicBezTo>
                    <a:pt x="83" y="52"/>
                    <a:pt x="83" y="52"/>
                    <a:pt x="83" y="52"/>
                  </a:cubicBezTo>
                  <a:cubicBezTo>
                    <a:pt x="85" y="54"/>
                    <a:pt x="87" y="56"/>
                    <a:pt x="90" y="57"/>
                  </a:cubicBezTo>
                  <a:cubicBezTo>
                    <a:pt x="108" y="62"/>
                    <a:pt x="108" y="62"/>
                    <a:pt x="108" y="62"/>
                  </a:cubicBezTo>
                  <a:lnTo>
                    <a:pt x="97"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107" name="Freeform 5">
            <a:extLst>
              <a:ext uri="{FF2B5EF4-FFF2-40B4-BE49-F238E27FC236}">
                <a16:creationId xmlns:a16="http://schemas.microsoft.com/office/drawing/2014/main" id="{78C31727-C7B8-58B9-7A89-24C1AED4BCF1}"/>
              </a:ext>
            </a:extLst>
          </p:cNvPr>
          <p:cNvSpPr>
            <a:spLocks noEditPoints="1"/>
          </p:cNvSpPr>
          <p:nvPr/>
        </p:nvSpPr>
        <p:spPr bwMode="auto">
          <a:xfrm>
            <a:off x="5806071" y="1266989"/>
            <a:ext cx="527148" cy="503294"/>
          </a:xfrm>
          <a:custGeom>
            <a:avLst/>
            <a:gdLst>
              <a:gd name="T0" fmla="*/ 329 w 378"/>
              <a:gd name="T1" fmla="*/ 27 h 360"/>
              <a:gd name="T2" fmla="*/ 367 w 378"/>
              <a:gd name="T3" fmla="*/ 27 h 360"/>
              <a:gd name="T4" fmla="*/ 367 w 378"/>
              <a:gd name="T5" fmla="*/ 324 h 360"/>
              <a:gd name="T6" fmla="*/ 329 w 378"/>
              <a:gd name="T7" fmla="*/ 324 h 360"/>
              <a:gd name="T8" fmla="*/ 329 w 378"/>
              <a:gd name="T9" fmla="*/ 27 h 360"/>
              <a:gd name="T10" fmla="*/ 255 w 378"/>
              <a:gd name="T11" fmla="*/ 38 h 360"/>
              <a:gd name="T12" fmla="*/ 250 w 378"/>
              <a:gd name="T13" fmla="*/ 40 h 360"/>
              <a:gd name="T14" fmla="*/ 233 w 378"/>
              <a:gd name="T15" fmla="*/ 33 h 360"/>
              <a:gd name="T16" fmla="*/ 233 w 378"/>
              <a:gd name="T17" fmla="*/ 25 h 360"/>
              <a:gd name="T18" fmla="*/ 241 w 378"/>
              <a:gd name="T19" fmla="*/ 19 h 360"/>
              <a:gd name="T20" fmla="*/ 299 w 378"/>
              <a:gd name="T21" fmla="*/ 0 h 360"/>
              <a:gd name="T22" fmla="*/ 306 w 378"/>
              <a:gd name="T23" fmla="*/ 52 h 360"/>
              <a:gd name="T24" fmla="*/ 304 w 378"/>
              <a:gd name="T25" fmla="*/ 60 h 360"/>
              <a:gd name="T26" fmla="*/ 295 w 378"/>
              <a:gd name="T27" fmla="*/ 65 h 360"/>
              <a:gd name="T28" fmla="*/ 293 w 378"/>
              <a:gd name="T29" fmla="*/ 65 h 360"/>
              <a:gd name="T30" fmla="*/ 280 w 378"/>
              <a:gd name="T31" fmla="*/ 55 h 360"/>
              <a:gd name="T32" fmla="*/ 279 w 378"/>
              <a:gd name="T33" fmla="*/ 47 h 360"/>
              <a:gd name="T34" fmla="*/ 50 w 378"/>
              <a:gd name="T35" fmla="*/ 245 h 360"/>
              <a:gd name="T36" fmla="*/ 42 w 378"/>
              <a:gd name="T37" fmla="*/ 247 h 360"/>
              <a:gd name="T38" fmla="*/ 32 w 378"/>
              <a:gd name="T39" fmla="*/ 243 h 360"/>
              <a:gd name="T40" fmla="*/ 29 w 378"/>
              <a:gd name="T41" fmla="*/ 235 h 360"/>
              <a:gd name="T42" fmla="*/ 34 w 378"/>
              <a:gd name="T43" fmla="*/ 227 h 360"/>
              <a:gd name="T44" fmla="*/ 255 w 378"/>
              <a:gd name="T45" fmla="*/ 38 h 360"/>
              <a:gd name="T46" fmla="*/ 299 w 378"/>
              <a:gd name="T47" fmla="*/ 93 h 360"/>
              <a:gd name="T48" fmla="*/ 299 w 378"/>
              <a:gd name="T49" fmla="*/ 324 h 360"/>
              <a:gd name="T50" fmla="*/ 262 w 378"/>
              <a:gd name="T51" fmla="*/ 324 h 360"/>
              <a:gd name="T52" fmla="*/ 262 w 378"/>
              <a:gd name="T53" fmla="*/ 93 h 360"/>
              <a:gd name="T54" fmla="*/ 299 w 378"/>
              <a:gd name="T55" fmla="*/ 93 h 360"/>
              <a:gd name="T56" fmla="*/ 234 w 378"/>
              <a:gd name="T57" fmla="*/ 162 h 360"/>
              <a:gd name="T58" fmla="*/ 234 w 378"/>
              <a:gd name="T59" fmla="*/ 324 h 360"/>
              <a:gd name="T60" fmla="*/ 196 w 378"/>
              <a:gd name="T61" fmla="*/ 324 h 360"/>
              <a:gd name="T62" fmla="*/ 196 w 378"/>
              <a:gd name="T63" fmla="*/ 162 h 360"/>
              <a:gd name="T64" fmla="*/ 234 w 378"/>
              <a:gd name="T65" fmla="*/ 162 h 360"/>
              <a:gd name="T66" fmla="*/ 166 w 378"/>
              <a:gd name="T67" fmla="*/ 233 h 360"/>
              <a:gd name="T68" fmla="*/ 166 w 378"/>
              <a:gd name="T69" fmla="*/ 324 h 360"/>
              <a:gd name="T70" fmla="*/ 129 w 378"/>
              <a:gd name="T71" fmla="*/ 324 h 360"/>
              <a:gd name="T72" fmla="*/ 129 w 378"/>
              <a:gd name="T73" fmla="*/ 233 h 360"/>
              <a:gd name="T74" fmla="*/ 166 w 378"/>
              <a:gd name="T75" fmla="*/ 233 h 360"/>
              <a:gd name="T76" fmla="*/ 95 w 378"/>
              <a:gd name="T77" fmla="*/ 269 h 360"/>
              <a:gd name="T78" fmla="*/ 95 w 378"/>
              <a:gd name="T79" fmla="*/ 324 h 360"/>
              <a:gd name="T80" fmla="*/ 57 w 378"/>
              <a:gd name="T81" fmla="*/ 324 h 360"/>
              <a:gd name="T82" fmla="*/ 57 w 378"/>
              <a:gd name="T83" fmla="*/ 269 h 360"/>
              <a:gd name="T84" fmla="*/ 95 w 378"/>
              <a:gd name="T85" fmla="*/ 269 h 360"/>
              <a:gd name="T86" fmla="*/ 378 w 378"/>
              <a:gd name="T87" fmla="*/ 360 h 360"/>
              <a:gd name="T88" fmla="*/ 0 w 378"/>
              <a:gd name="T89" fmla="*/ 360 h 360"/>
              <a:gd name="T90" fmla="*/ 0 w 378"/>
              <a:gd name="T91" fmla="*/ 332 h 360"/>
              <a:gd name="T92" fmla="*/ 378 w 378"/>
              <a:gd name="T93" fmla="*/ 332 h 360"/>
              <a:gd name="T94" fmla="*/ 378 w 378"/>
              <a:gd name="T95" fmla="*/ 3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8" h="360">
                <a:moveTo>
                  <a:pt x="329" y="27"/>
                </a:moveTo>
                <a:cubicBezTo>
                  <a:pt x="367" y="27"/>
                  <a:pt x="367" y="27"/>
                  <a:pt x="367" y="27"/>
                </a:cubicBezTo>
                <a:cubicBezTo>
                  <a:pt x="367" y="324"/>
                  <a:pt x="367" y="324"/>
                  <a:pt x="367" y="324"/>
                </a:cubicBezTo>
                <a:cubicBezTo>
                  <a:pt x="329" y="324"/>
                  <a:pt x="329" y="324"/>
                  <a:pt x="329" y="324"/>
                </a:cubicBezTo>
                <a:lnTo>
                  <a:pt x="329" y="27"/>
                </a:lnTo>
                <a:close/>
                <a:moveTo>
                  <a:pt x="255" y="38"/>
                </a:moveTo>
                <a:cubicBezTo>
                  <a:pt x="250" y="40"/>
                  <a:pt x="250" y="40"/>
                  <a:pt x="250" y="40"/>
                </a:cubicBezTo>
                <a:cubicBezTo>
                  <a:pt x="243" y="42"/>
                  <a:pt x="236" y="39"/>
                  <a:pt x="233" y="33"/>
                </a:cubicBezTo>
                <a:cubicBezTo>
                  <a:pt x="232" y="31"/>
                  <a:pt x="232" y="28"/>
                  <a:pt x="233" y="25"/>
                </a:cubicBezTo>
                <a:cubicBezTo>
                  <a:pt x="234" y="22"/>
                  <a:pt x="237" y="20"/>
                  <a:pt x="241" y="19"/>
                </a:cubicBezTo>
                <a:cubicBezTo>
                  <a:pt x="299" y="0"/>
                  <a:pt x="299" y="0"/>
                  <a:pt x="299" y="0"/>
                </a:cubicBezTo>
                <a:cubicBezTo>
                  <a:pt x="306" y="52"/>
                  <a:pt x="306" y="52"/>
                  <a:pt x="306" y="52"/>
                </a:cubicBezTo>
                <a:cubicBezTo>
                  <a:pt x="306" y="55"/>
                  <a:pt x="306" y="58"/>
                  <a:pt x="304" y="60"/>
                </a:cubicBezTo>
                <a:cubicBezTo>
                  <a:pt x="302" y="63"/>
                  <a:pt x="298" y="65"/>
                  <a:pt x="295" y="65"/>
                </a:cubicBezTo>
                <a:cubicBezTo>
                  <a:pt x="294" y="65"/>
                  <a:pt x="294" y="65"/>
                  <a:pt x="293" y="65"/>
                </a:cubicBezTo>
                <a:cubicBezTo>
                  <a:pt x="286" y="65"/>
                  <a:pt x="281" y="61"/>
                  <a:pt x="280" y="55"/>
                </a:cubicBezTo>
                <a:cubicBezTo>
                  <a:pt x="279" y="47"/>
                  <a:pt x="279" y="47"/>
                  <a:pt x="279" y="47"/>
                </a:cubicBezTo>
                <a:cubicBezTo>
                  <a:pt x="212" y="141"/>
                  <a:pt x="56" y="241"/>
                  <a:pt x="50" y="245"/>
                </a:cubicBezTo>
                <a:cubicBezTo>
                  <a:pt x="47" y="247"/>
                  <a:pt x="45" y="247"/>
                  <a:pt x="42" y="247"/>
                </a:cubicBezTo>
                <a:cubicBezTo>
                  <a:pt x="38" y="247"/>
                  <a:pt x="34" y="246"/>
                  <a:pt x="32" y="243"/>
                </a:cubicBezTo>
                <a:cubicBezTo>
                  <a:pt x="29" y="241"/>
                  <a:pt x="28" y="238"/>
                  <a:pt x="29" y="235"/>
                </a:cubicBezTo>
                <a:cubicBezTo>
                  <a:pt x="29" y="232"/>
                  <a:pt x="31" y="229"/>
                  <a:pt x="34" y="227"/>
                </a:cubicBezTo>
                <a:cubicBezTo>
                  <a:pt x="35" y="226"/>
                  <a:pt x="189" y="127"/>
                  <a:pt x="255" y="38"/>
                </a:cubicBezTo>
                <a:close/>
                <a:moveTo>
                  <a:pt x="299" y="93"/>
                </a:moveTo>
                <a:cubicBezTo>
                  <a:pt x="299" y="324"/>
                  <a:pt x="299" y="324"/>
                  <a:pt x="299" y="324"/>
                </a:cubicBezTo>
                <a:cubicBezTo>
                  <a:pt x="262" y="324"/>
                  <a:pt x="262" y="324"/>
                  <a:pt x="262" y="324"/>
                </a:cubicBezTo>
                <a:cubicBezTo>
                  <a:pt x="262" y="93"/>
                  <a:pt x="262" y="93"/>
                  <a:pt x="262" y="93"/>
                </a:cubicBezTo>
                <a:lnTo>
                  <a:pt x="299" y="93"/>
                </a:lnTo>
                <a:close/>
                <a:moveTo>
                  <a:pt x="234" y="162"/>
                </a:moveTo>
                <a:cubicBezTo>
                  <a:pt x="234" y="324"/>
                  <a:pt x="234" y="324"/>
                  <a:pt x="234" y="324"/>
                </a:cubicBezTo>
                <a:cubicBezTo>
                  <a:pt x="196" y="324"/>
                  <a:pt x="196" y="324"/>
                  <a:pt x="196" y="324"/>
                </a:cubicBezTo>
                <a:cubicBezTo>
                  <a:pt x="196" y="162"/>
                  <a:pt x="196" y="162"/>
                  <a:pt x="196" y="162"/>
                </a:cubicBezTo>
                <a:lnTo>
                  <a:pt x="234" y="162"/>
                </a:lnTo>
                <a:close/>
                <a:moveTo>
                  <a:pt x="166" y="233"/>
                </a:moveTo>
                <a:cubicBezTo>
                  <a:pt x="166" y="324"/>
                  <a:pt x="166" y="324"/>
                  <a:pt x="166" y="324"/>
                </a:cubicBezTo>
                <a:cubicBezTo>
                  <a:pt x="129" y="324"/>
                  <a:pt x="129" y="324"/>
                  <a:pt x="129" y="324"/>
                </a:cubicBezTo>
                <a:cubicBezTo>
                  <a:pt x="129" y="233"/>
                  <a:pt x="129" y="233"/>
                  <a:pt x="129" y="233"/>
                </a:cubicBezTo>
                <a:lnTo>
                  <a:pt x="166" y="233"/>
                </a:lnTo>
                <a:close/>
                <a:moveTo>
                  <a:pt x="95" y="269"/>
                </a:moveTo>
                <a:cubicBezTo>
                  <a:pt x="95" y="324"/>
                  <a:pt x="95" y="324"/>
                  <a:pt x="95" y="324"/>
                </a:cubicBezTo>
                <a:cubicBezTo>
                  <a:pt x="57" y="324"/>
                  <a:pt x="57" y="324"/>
                  <a:pt x="57" y="324"/>
                </a:cubicBezTo>
                <a:cubicBezTo>
                  <a:pt x="57" y="269"/>
                  <a:pt x="57" y="269"/>
                  <a:pt x="57" y="269"/>
                </a:cubicBezTo>
                <a:lnTo>
                  <a:pt x="95" y="269"/>
                </a:lnTo>
                <a:close/>
                <a:moveTo>
                  <a:pt x="378" y="360"/>
                </a:moveTo>
                <a:cubicBezTo>
                  <a:pt x="0" y="360"/>
                  <a:pt x="0" y="360"/>
                  <a:pt x="0" y="360"/>
                </a:cubicBezTo>
                <a:cubicBezTo>
                  <a:pt x="0" y="332"/>
                  <a:pt x="0" y="332"/>
                  <a:pt x="0" y="332"/>
                </a:cubicBezTo>
                <a:cubicBezTo>
                  <a:pt x="378" y="332"/>
                  <a:pt x="378" y="332"/>
                  <a:pt x="378" y="332"/>
                </a:cubicBezTo>
                <a:cubicBezTo>
                  <a:pt x="378" y="360"/>
                  <a:pt x="378" y="360"/>
                  <a:pt x="378" y="3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108" name="Group 107">
            <a:extLst>
              <a:ext uri="{FF2B5EF4-FFF2-40B4-BE49-F238E27FC236}">
                <a16:creationId xmlns:a16="http://schemas.microsoft.com/office/drawing/2014/main" id="{E7B5F6BD-24CD-425C-90EE-85F0C1716F5E}"/>
              </a:ext>
            </a:extLst>
          </p:cNvPr>
          <p:cNvGrpSpPr/>
          <p:nvPr/>
        </p:nvGrpSpPr>
        <p:grpSpPr>
          <a:xfrm>
            <a:off x="2187055" y="1280691"/>
            <a:ext cx="523374" cy="524598"/>
            <a:chOff x="1036638" y="2822576"/>
            <a:chExt cx="679450" cy="681037"/>
          </a:xfrm>
          <a:solidFill>
            <a:schemeClr val="bg1"/>
          </a:solidFill>
        </p:grpSpPr>
        <p:sp>
          <p:nvSpPr>
            <p:cNvPr id="109" name="Freeform 20">
              <a:extLst>
                <a:ext uri="{FF2B5EF4-FFF2-40B4-BE49-F238E27FC236}">
                  <a16:creationId xmlns:a16="http://schemas.microsoft.com/office/drawing/2014/main" id="{0D337257-565E-EA6C-E032-9AFDF5653E25}"/>
                </a:ext>
              </a:extLst>
            </p:cNvPr>
            <p:cNvSpPr>
              <a:spLocks noEditPoints="1"/>
            </p:cNvSpPr>
            <p:nvPr/>
          </p:nvSpPr>
          <p:spPr bwMode="auto">
            <a:xfrm>
              <a:off x="1036638" y="2822576"/>
              <a:ext cx="679450" cy="393700"/>
            </a:xfrm>
            <a:custGeom>
              <a:avLst/>
              <a:gdLst>
                <a:gd name="T0" fmla="*/ 376 w 501"/>
                <a:gd name="T1" fmla="*/ 211 h 289"/>
                <a:gd name="T2" fmla="*/ 294 w 501"/>
                <a:gd name="T3" fmla="*/ 179 h 289"/>
                <a:gd name="T4" fmla="*/ 344 w 501"/>
                <a:gd name="T5" fmla="*/ 127 h 289"/>
                <a:gd name="T6" fmla="*/ 376 w 501"/>
                <a:gd name="T7" fmla="*/ 8 h 289"/>
                <a:gd name="T8" fmla="*/ 289 w 501"/>
                <a:gd name="T9" fmla="*/ 31 h 289"/>
                <a:gd name="T10" fmla="*/ 301 w 501"/>
                <a:gd name="T11" fmla="*/ 110 h 289"/>
                <a:gd name="T12" fmla="*/ 251 w 501"/>
                <a:gd name="T13" fmla="*/ 162 h 289"/>
                <a:gd name="T14" fmla="*/ 201 w 501"/>
                <a:gd name="T15" fmla="*/ 110 h 289"/>
                <a:gd name="T16" fmla="*/ 212 w 501"/>
                <a:gd name="T17" fmla="*/ 31 h 289"/>
                <a:gd name="T18" fmla="*/ 125 w 501"/>
                <a:gd name="T19" fmla="*/ 8 h 289"/>
                <a:gd name="T20" fmla="*/ 157 w 501"/>
                <a:gd name="T21" fmla="*/ 127 h 289"/>
                <a:gd name="T22" fmla="*/ 207 w 501"/>
                <a:gd name="T23" fmla="*/ 179 h 289"/>
                <a:gd name="T24" fmla="*/ 126 w 501"/>
                <a:gd name="T25" fmla="*/ 211 h 289"/>
                <a:gd name="T26" fmla="*/ 0 w 501"/>
                <a:gd name="T27" fmla="*/ 225 h 289"/>
                <a:gd name="T28" fmla="*/ 126 w 501"/>
                <a:gd name="T29" fmla="*/ 240 h 289"/>
                <a:gd name="T30" fmla="*/ 251 w 501"/>
                <a:gd name="T31" fmla="*/ 289 h 289"/>
                <a:gd name="T32" fmla="*/ 376 w 501"/>
                <a:gd name="T33" fmla="*/ 240 h 289"/>
                <a:gd name="T34" fmla="*/ 501 w 501"/>
                <a:gd name="T35" fmla="*/ 225 h 289"/>
                <a:gd name="T36" fmla="*/ 315 w 501"/>
                <a:gd name="T37" fmla="*/ 46 h 289"/>
                <a:gd name="T38" fmla="*/ 361 w 501"/>
                <a:gd name="T39" fmla="*/ 34 h 289"/>
                <a:gd name="T40" fmla="*/ 344 w 501"/>
                <a:gd name="T41" fmla="*/ 98 h 289"/>
                <a:gd name="T42" fmla="*/ 311 w 501"/>
                <a:gd name="T43" fmla="*/ 72 h 289"/>
                <a:gd name="T44" fmla="*/ 157 w 501"/>
                <a:gd name="T45" fmla="*/ 98 h 289"/>
                <a:gd name="T46" fmla="*/ 140 w 501"/>
                <a:gd name="T47" fmla="*/ 34 h 289"/>
                <a:gd name="T48" fmla="*/ 187 w 501"/>
                <a:gd name="T49" fmla="*/ 46 h 289"/>
                <a:gd name="T50" fmla="*/ 174 w 501"/>
                <a:gd name="T51" fmla="*/ 93 h 289"/>
                <a:gd name="T52" fmla="*/ 64 w 501"/>
                <a:gd name="T53" fmla="*/ 260 h 289"/>
                <a:gd name="T54" fmla="*/ 64 w 501"/>
                <a:gd name="T55" fmla="*/ 191 h 289"/>
                <a:gd name="T56" fmla="*/ 64 w 501"/>
                <a:gd name="T57" fmla="*/ 260 h 289"/>
                <a:gd name="T58" fmla="*/ 216 w 501"/>
                <a:gd name="T59" fmla="*/ 225 h 289"/>
                <a:gd name="T60" fmla="*/ 285 w 501"/>
                <a:gd name="T61" fmla="*/ 225 h 289"/>
                <a:gd name="T62" fmla="*/ 438 w 501"/>
                <a:gd name="T63" fmla="*/ 260 h 289"/>
                <a:gd name="T64" fmla="*/ 438 w 501"/>
                <a:gd name="T65" fmla="*/ 191 h 289"/>
                <a:gd name="T66" fmla="*/ 438 w 501"/>
                <a:gd name="T67" fmla="*/ 26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1" h="289">
                  <a:moveTo>
                    <a:pt x="438" y="162"/>
                  </a:moveTo>
                  <a:cubicBezTo>
                    <a:pt x="408" y="162"/>
                    <a:pt x="382" y="183"/>
                    <a:pt x="376" y="211"/>
                  </a:cubicBezTo>
                  <a:cubicBezTo>
                    <a:pt x="313" y="211"/>
                    <a:pt x="313" y="211"/>
                    <a:pt x="313" y="211"/>
                  </a:cubicBezTo>
                  <a:cubicBezTo>
                    <a:pt x="310" y="198"/>
                    <a:pt x="303" y="187"/>
                    <a:pt x="294" y="179"/>
                  </a:cubicBezTo>
                  <a:cubicBezTo>
                    <a:pt x="326" y="124"/>
                    <a:pt x="326" y="124"/>
                    <a:pt x="326" y="124"/>
                  </a:cubicBezTo>
                  <a:cubicBezTo>
                    <a:pt x="332" y="126"/>
                    <a:pt x="338" y="127"/>
                    <a:pt x="344" y="127"/>
                  </a:cubicBezTo>
                  <a:cubicBezTo>
                    <a:pt x="367" y="127"/>
                    <a:pt x="388" y="115"/>
                    <a:pt x="399" y="95"/>
                  </a:cubicBezTo>
                  <a:cubicBezTo>
                    <a:pt x="417" y="65"/>
                    <a:pt x="406" y="26"/>
                    <a:pt x="376" y="8"/>
                  </a:cubicBezTo>
                  <a:cubicBezTo>
                    <a:pt x="366" y="3"/>
                    <a:pt x="355" y="0"/>
                    <a:pt x="344" y="0"/>
                  </a:cubicBezTo>
                  <a:cubicBezTo>
                    <a:pt x="322" y="0"/>
                    <a:pt x="300" y="12"/>
                    <a:pt x="289" y="31"/>
                  </a:cubicBezTo>
                  <a:cubicBezTo>
                    <a:pt x="281" y="46"/>
                    <a:pt x="278" y="63"/>
                    <a:pt x="283" y="80"/>
                  </a:cubicBezTo>
                  <a:cubicBezTo>
                    <a:pt x="286" y="91"/>
                    <a:pt x="292" y="102"/>
                    <a:pt x="301" y="110"/>
                  </a:cubicBezTo>
                  <a:cubicBezTo>
                    <a:pt x="269" y="164"/>
                    <a:pt x="269" y="164"/>
                    <a:pt x="269" y="164"/>
                  </a:cubicBezTo>
                  <a:cubicBezTo>
                    <a:pt x="263" y="163"/>
                    <a:pt x="257" y="162"/>
                    <a:pt x="251" y="162"/>
                  </a:cubicBezTo>
                  <a:cubicBezTo>
                    <a:pt x="244" y="162"/>
                    <a:pt x="238" y="163"/>
                    <a:pt x="232" y="164"/>
                  </a:cubicBezTo>
                  <a:cubicBezTo>
                    <a:pt x="201" y="110"/>
                    <a:pt x="201" y="110"/>
                    <a:pt x="201" y="110"/>
                  </a:cubicBezTo>
                  <a:cubicBezTo>
                    <a:pt x="209" y="102"/>
                    <a:pt x="216" y="91"/>
                    <a:pt x="219" y="80"/>
                  </a:cubicBezTo>
                  <a:cubicBezTo>
                    <a:pt x="223" y="63"/>
                    <a:pt x="221" y="46"/>
                    <a:pt x="212" y="31"/>
                  </a:cubicBezTo>
                  <a:cubicBezTo>
                    <a:pt x="201" y="12"/>
                    <a:pt x="180" y="0"/>
                    <a:pt x="157" y="0"/>
                  </a:cubicBezTo>
                  <a:cubicBezTo>
                    <a:pt x="146" y="0"/>
                    <a:pt x="135" y="3"/>
                    <a:pt x="125" y="8"/>
                  </a:cubicBezTo>
                  <a:cubicBezTo>
                    <a:pt x="95" y="26"/>
                    <a:pt x="84" y="65"/>
                    <a:pt x="102" y="95"/>
                  </a:cubicBezTo>
                  <a:cubicBezTo>
                    <a:pt x="113" y="115"/>
                    <a:pt x="134" y="127"/>
                    <a:pt x="157" y="127"/>
                  </a:cubicBezTo>
                  <a:cubicBezTo>
                    <a:pt x="163" y="127"/>
                    <a:pt x="169" y="126"/>
                    <a:pt x="175" y="124"/>
                  </a:cubicBezTo>
                  <a:cubicBezTo>
                    <a:pt x="207" y="179"/>
                    <a:pt x="207" y="179"/>
                    <a:pt x="207" y="179"/>
                  </a:cubicBezTo>
                  <a:cubicBezTo>
                    <a:pt x="198" y="187"/>
                    <a:pt x="192" y="198"/>
                    <a:pt x="189" y="211"/>
                  </a:cubicBezTo>
                  <a:cubicBezTo>
                    <a:pt x="126" y="211"/>
                    <a:pt x="126" y="211"/>
                    <a:pt x="126" y="211"/>
                  </a:cubicBezTo>
                  <a:cubicBezTo>
                    <a:pt x="119" y="183"/>
                    <a:pt x="94" y="162"/>
                    <a:pt x="64" y="162"/>
                  </a:cubicBezTo>
                  <a:cubicBezTo>
                    <a:pt x="28" y="162"/>
                    <a:pt x="0" y="190"/>
                    <a:pt x="0" y="225"/>
                  </a:cubicBezTo>
                  <a:cubicBezTo>
                    <a:pt x="0" y="260"/>
                    <a:pt x="28" y="289"/>
                    <a:pt x="64" y="289"/>
                  </a:cubicBezTo>
                  <a:cubicBezTo>
                    <a:pt x="94" y="289"/>
                    <a:pt x="119" y="268"/>
                    <a:pt x="126" y="240"/>
                  </a:cubicBezTo>
                  <a:cubicBezTo>
                    <a:pt x="189" y="240"/>
                    <a:pt x="189" y="240"/>
                    <a:pt x="189" y="240"/>
                  </a:cubicBezTo>
                  <a:cubicBezTo>
                    <a:pt x="195" y="268"/>
                    <a:pt x="221" y="289"/>
                    <a:pt x="251" y="289"/>
                  </a:cubicBezTo>
                  <a:cubicBezTo>
                    <a:pt x="281" y="289"/>
                    <a:pt x="306" y="268"/>
                    <a:pt x="313" y="240"/>
                  </a:cubicBezTo>
                  <a:cubicBezTo>
                    <a:pt x="376" y="240"/>
                    <a:pt x="376" y="240"/>
                    <a:pt x="376" y="240"/>
                  </a:cubicBezTo>
                  <a:cubicBezTo>
                    <a:pt x="382" y="268"/>
                    <a:pt x="408" y="289"/>
                    <a:pt x="438" y="289"/>
                  </a:cubicBezTo>
                  <a:cubicBezTo>
                    <a:pt x="473" y="289"/>
                    <a:pt x="501" y="260"/>
                    <a:pt x="501" y="225"/>
                  </a:cubicBezTo>
                  <a:cubicBezTo>
                    <a:pt x="501" y="190"/>
                    <a:pt x="473" y="162"/>
                    <a:pt x="438" y="162"/>
                  </a:cubicBezTo>
                  <a:close/>
                  <a:moveTo>
                    <a:pt x="315" y="46"/>
                  </a:moveTo>
                  <a:cubicBezTo>
                    <a:pt x="321" y="36"/>
                    <a:pt x="332" y="29"/>
                    <a:pt x="344" y="29"/>
                  </a:cubicBezTo>
                  <a:cubicBezTo>
                    <a:pt x="350" y="29"/>
                    <a:pt x="356" y="31"/>
                    <a:pt x="361" y="34"/>
                  </a:cubicBezTo>
                  <a:cubicBezTo>
                    <a:pt x="378" y="43"/>
                    <a:pt x="383" y="64"/>
                    <a:pt x="374" y="80"/>
                  </a:cubicBezTo>
                  <a:cubicBezTo>
                    <a:pt x="368" y="91"/>
                    <a:pt x="356" y="98"/>
                    <a:pt x="344" y="98"/>
                  </a:cubicBezTo>
                  <a:cubicBezTo>
                    <a:pt x="338" y="98"/>
                    <a:pt x="332" y="96"/>
                    <a:pt x="327" y="93"/>
                  </a:cubicBezTo>
                  <a:cubicBezTo>
                    <a:pt x="319" y="88"/>
                    <a:pt x="313" y="81"/>
                    <a:pt x="311" y="72"/>
                  </a:cubicBezTo>
                  <a:cubicBezTo>
                    <a:pt x="309" y="63"/>
                    <a:pt x="310" y="54"/>
                    <a:pt x="315" y="46"/>
                  </a:cubicBezTo>
                  <a:close/>
                  <a:moveTo>
                    <a:pt x="157" y="98"/>
                  </a:moveTo>
                  <a:cubicBezTo>
                    <a:pt x="145" y="98"/>
                    <a:pt x="134" y="91"/>
                    <a:pt x="127" y="80"/>
                  </a:cubicBezTo>
                  <a:cubicBezTo>
                    <a:pt x="118" y="64"/>
                    <a:pt x="124" y="43"/>
                    <a:pt x="140" y="34"/>
                  </a:cubicBezTo>
                  <a:cubicBezTo>
                    <a:pt x="145" y="31"/>
                    <a:pt x="151" y="29"/>
                    <a:pt x="157" y="29"/>
                  </a:cubicBezTo>
                  <a:cubicBezTo>
                    <a:pt x="169" y="29"/>
                    <a:pt x="181" y="36"/>
                    <a:pt x="187" y="46"/>
                  </a:cubicBezTo>
                  <a:cubicBezTo>
                    <a:pt x="191" y="54"/>
                    <a:pt x="193" y="63"/>
                    <a:pt x="190" y="72"/>
                  </a:cubicBezTo>
                  <a:cubicBezTo>
                    <a:pt x="188" y="81"/>
                    <a:pt x="182" y="88"/>
                    <a:pt x="174" y="93"/>
                  </a:cubicBezTo>
                  <a:cubicBezTo>
                    <a:pt x="169" y="96"/>
                    <a:pt x="163" y="98"/>
                    <a:pt x="157" y="98"/>
                  </a:cubicBezTo>
                  <a:close/>
                  <a:moveTo>
                    <a:pt x="64" y="260"/>
                  </a:moveTo>
                  <a:cubicBezTo>
                    <a:pt x="45" y="260"/>
                    <a:pt x="29" y="244"/>
                    <a:pt x="29" y="225"/>
                  </a:cubicBezTo>
                  <a:cubicBezTo>
                    <a:pt x="29" y="206"/>
                    <a:pt x="45" y="191"/>
                    <a:pt x="64" y="191"/>
                  </a:cubicBezTo>
                  <a:cubicBezTo>
                    <a:pt x="82" y="191"/>
                    <a:pt x="98" y="206"/>
                    <a:pt x="98" y="225"/>
                  </a:cubicBezTo>
                  <a:cubicBezTo>
                    <a:pt x="98" y="244"/>
                    <a:pt x="82" y="260"/>
                    <a:pt x="64" y="260"/>
                  </a:cubicBezTo>
                  <a:close/>
                  <a:moveTo>
                    <a:pt x="251" y="260"/>
                  </a:moveTo>
                  <a:cubicBezTo>
                    <a:pt x="232" y="260"/>
                    <a:pt x="216" y="244"/>
                    <a:pt x="216" y="225"/>
                  </a:cubicBezTo>
                  <a:cubicBezTo>
                    <a:pt x="216" y="206"/>
                    <a:pt x="232" y="191"/>
                    <a:pt x="251" y="191"/>
                  </a:cubicBezTo>
                  <a:cubicBezTo>
                    <a:pt x="270" y="191"/>
                    <a:pt x="285" y="206"/>
                    <a:pt x="285" y="225"/>
                  </a:cubicBezTo>
                  <a:cubicBezTo>
                    <a:pt x="285" y="244"/>
                    <a:pt x="270" y="260"/>
                    <a:pt x="251" y="260"/>
                  </a:cubicBezTo>
                  <a:close/>
                  <a:moveTo>
                    <a:pt x="438" y="260"/>
                  </a:moveTo>
                  <a:cubicBezTo>
                    <a:pt x="419" y="260"/>
                    <a:pt x="403" y="244"/>
                    <a:pt x="403" y="225"/>
                  </a:cubicBezTo>
                  <a:cubicBezTo>
                    <a:pt x="403" y="206"/>
                    <a:pt x="419" y="191"/>
                    <a:pt x="438" y="191"/>
                  </a:cubicBezTo>
                  <a:cubicBezTo>
                    <a:pt x="457" y="191"/>
                    <a:pt x="472" y="206"/>
                    <a:pt x="472" y="225"/>
                  </a:cubicBezTo>
                  <a:cubicBezTo>
                    <a:pt x="472" y="244"/>
                    <a:pt x="457" y="260"/>
                    <a:pt x="438" y="2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0" name="Freeform 21">
              <a:extLst>
                <a:ext uri="{FF2B5EF4-FFF2-40B4-BE49-F238E27FC236}">
                  <a16:creationId xmlns:a16="http://schemas.microsoft.com/office/drawing/2014/main" id="{30673653-AC99-4DCF-0AE9-515577266927}"/>
                </a:ext>
              </a:extLst>
            </p:cNvPr>
            <p:cNvSpPr>
              <a:spLocks noEditPoints="1"/>
            </p:cNvSpPr>
            <p:nvPr/>
          </p:nvSpPr>
          <p:spPr bwMode="auto">
            <a:xfrm>
              <a:off x="1196976" y="3255963"/>
              <a:ext cx="358775" cy="247650"/>
            </a:xfrm>
            <a:custGeom>
              <a:avLst/>
              <a:gdLst>
                <a:gd name="T0" fmla="*/ 191 w 265"/>
                <a:gd name="T1" fmla="*/ 0 h 183"/>
                <a:gd name="T2" fmla="*/ 74 w 265"/>
                <a:gd name="T3" fmla="*/ 0 h 183"/>
                <a:gd name="T4" fmla="*/ 0 w 265"/>
                <a:gd name="T5" fmla="*/ 74 h 183"/>
                <a:gd name="T6" fmla="*/ 0 w 265"/>
                <a:gd name="T7" fmla="*/ 183 h 183"/>
                <a:gd name="T8" fmla="*/ 265 w 265"/>
                <a:gd name="T9" fmla="*/ 183 h 183"/>
                <a:gd name="T10" fmla="*/ 265 w 265"/>
                <a:gd name="T11" fmla="*/ 74 h 183"/>
                <a:gd name="T12" fmla="*/ 191 w 265"/>
                <a:gd name="T13" fmla="*/ 0 h 183"/>
                <a:gd name="T14" fmla="*/ 236 w 265"/>
                <a:gd name="T15" fmla="*/ 154 h 183"/>
                <a:gd name="T16" fmla="*/ 206 w 265"/>
                <a:gd name="T17" fmla="*/ 154 h 183"/>
                <a:gd name="T18" fmla="*/ 206 w 265"/>
                <a:gd name="T19" fmla="*/ 59 h 183"/>
                <a:gd name="T20" fmla="*/ 177 w 265"/>
                <a:gd name="T21" fmla="*/ 59 h 183"/>
                <a:gd name="T22" fmla="*/ 177 w 265"/>
                <a:gd name="T23" fmla="*/ 154 h 183"/>
                <a:gd name="T24" fmla="*/ 89 w 265"/>
                <a:gd name="T25" fmla="*/ 154 h 183"/>
                <a:gd name="T26" fmla="*/ 89 w 265"/>
                <a:gd name="T27" fmla="*/ 59 h 183"/>
                <a:gd name="T28" fmla="*/ 59 w 265"/>
                <a:gd name="T29" fmla="*/ 59 h 183"/>
                <a:gd name="T30" fmla="*/ 59 w 265"/>
                <a:gd name="T31" fmla="*/ 154 h 183"/>
                <a:gd name="T32" fmla="*/ 30 w 265"/>
                <a:gd name="T33" fmla="*/ 154 h 183"/>
                <a:gd name="T34" fmla="*/ 30 w 265"/>
                <a:gd name="T35" fmla="*/ 74 h 183"/>
                <a:gd name="T36" fmla="*/ 74 w 265"/>
                <a:gd name="T37" fmla="*/ 30 h 183"/>
                <a:gd name="T38" fmla="*/ 191 w 265"/>
                <a:gd name="T39" fmla="*/ 30 h 183"/>
                <a:gd name="T40" fmla="*/ 236 w 265"/>
                <a:gd name="T41" fmla="*/ 74 h 183"/>
                <a:gd name="T42" fmla="*/ 236 w 265"/>
                <a:gd name="T4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5" h="183">
                  <a:moveTo>
                    <a:pt x="191" y="0"/>
                  </a:moveTo>
                  <a:cubicBezTo>
                    <a:pt x="74" y="0"/>
                    <a:pt x="74" y="0"/>
                    <a:pt x="74" y="0"/>
                  </a:cubicBezTo>
                  <a:cubicBezTo>
                    <a:pt x="33" y="0"/>
                    <a:pt x="0" y="33"/>
                    <a:pt x="0" y="74"/>
                  </a:cubicBezTo>
                  <a:cubicBezTo>
                    <a:pt x="0" y="183"/>
                    <a:pt x="0" y="183"/>
                    <a:pt x="0" y="183"/>
                  </a:cubicBezTo>
                  <a:cubicBezTo>
                    <a:pt x="265" y="183"/>
                    <a:pt x="265" y="183"/>
                    <a:pt x="265" y="183"/>
                  </a:cubicBezTo>
                  <a:cubicBezTo>
                    <a:pt x="265" y="74"/>
                    <a:pt x="265" y="74"/>
                    <a:pt x="265" y="74"/>
                  </a:cubicBezTo>
                  <a:cubicBezTo>
                    <a:pt x="265" y="33"/>
                    <a:pt x="232" y="0"/>
                    <a:pt x="191" y="0"/>
                  </a:cubicBezTo>
                  <a:close/>
                  <a:moveTo>
                    <a:pt x="236" y="154"/>
                  </a:moveTo>
                  <a:cubicBezTo>
                    <a:pt x="206" y="154"/>
                    <a:pt x="206" y="154"/>
                    <a:pt x="206" y="154"/>
                  </a:cubicBezTo>
                  <a:cubicBezTo>
                    <a:pt x="206" y="59"/>
                    <a:pt x="206" y="59"/>
                    <a:pt x="206" y="59"/>
                  </a:cubicBezTo>
                  <a:cubicBezTo>
                    <a:pt x="177" y="59"/>
                    <a:pt x="177" y="59"/>
                    <a:pt x="177" y="59"/>
                  </a:cubicBezTo>
                  <a:cubicBezTo>
                    <a:pt x="177" y="154"/>
                    <a:pt x="177" y="154"/>
                    <a:pt x="177" y="154"/>
                  </a:cubicBezTo>
                  <a:cubicBezTo>
                    <a:pt x="89" y="154"/>
                    <a:pt x="89" y="154"/>
                    <a:pt x="89" y="154"/>
                  </a:cubicBezTo>
                  <a:cubicBezTo>
                    <a:pt x="89" y="59"/>
                    <a:pt x="89" y="59"/>
                    <a:pt x="89" y="59"/>
                  </a:cubicBezTo>
                  <a:cubicBezTo>
                    <a:pt x="59" y="59"/>
                    <a:pt x="59" y="59"/>
                    <a:pt x="59" y="59"/>
                  </a:cubicBezTo>
                  <a:cubicBezTo>
                    <a:pt x="59" y="154"/>
                    <a:pt x="59" y="154"/>
                    <a:pt x="59" y="154"/>
                  </a:cubicBezTo>
                  <a:cubicBezTo>
                    <a:pt x="30" y="154"/>
                    <a:pt x="30" y="154"/>
                    <a:pt x="30" y="154"/>
                  </a:cubicBezTo>
                  <a:cubicBezTo>
                    <a:pt x="30" y="74"/>
                    <a:pt x="30" y="74"/>
                    <a:pt x="30" y="74"/>
                  </a:cubicBezTo>
                  <a:cubicBezTo>
                    <a:pt x="30" y="49"/>
                    <a:pt x="50" y="30"/>
                    <a:pt x="74" y="30"/>
                  </a:cubicBezTo>
                  <a:cubicBezTo>
                    <a:pt x="191" y="30"/>
                    <a:pt x="191" y="30"/>
                    <a:pt x="191" y="30"/>
                  </a:cubicBezTo>
                  <a:cubicBezTo>
                    <a:pt x="216" y="30"/>
                    <a:pt x="236" y="49"/>
                    <a:pt x="236" y="74"/>
                  </a:cubicBezTo>
                  <a:lnTo>
                    <a:pt x="236"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898546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2710C-5B16-AC3F-3B7D-6D9C95F19319}"/>
            </a:ext>
          </a:extLst>
        </p:cNvPr>
        <p:cNvGrpSpPr/>
        <p:nvPr/>
      </p:nvGrpSpPr>
      <p:grpSpPr>
        <a:xfrm>
          <a:off x="0" y="0"/>
          <a:ext cx="0" cy="0"/>
          <a:chOff x="0" y="0"/>
          <a:chExt cx="0" cy="0"/>
        </a:xfrm>
      </p:grpSpPr>
      <p:pic>
        <p:nvPicPr>
          <p:cNvPr id="6" name="Picture Placeholder 16">
            <a:extLst>
              <a:ext uri="{FF2B5EF4-FFF2-40B4-BE49-F238E27FC236}">
                <a16:creationId xmlns:a16="http://schemas.microsoft.com/office/drawing/2014/main" id="{57754212-ECA3-435B-FE5D-6CC4807F0BAB}"/>
              </a:ext>
            </a:extLst>
          </p:cNvPr>
          <p:cNvPicPr>
            <a:picLocks noGrp="1" noChangeAspect="1"/>
          </p:cNvPicPr>
          <p:nvPr>
            <p:ph type="pic" sz="quarter" idx="13"/>
          </p:nvPr>
        </p:nvPicPr>
        <p:blipFill rotWithShape="1">
          <a:blip r:embed="rId6" cstate="print">
            <a:extLst>
              <a:ext uri="{28A0092B-C50C-407E-A947-70E740481C1C}">
                <a14:useLocalDpi xmlns:a14="http://schemas.microsoft.com/office/drawing/2010/main" val="0"/>
              </a:ext>
            </a:extLst>
          </a:blip>
          <a:srcRect/>
          <a:stretch/>
        </p:blipFill>
        <p:spPr>
          <a:xfrm>
            <a:off x="4584968" y="-2"/>
            <a:ext cx="7607031" cy="6858002"/>
          </a:xfrm>
          <a:prstGeom prst="rect">
            <a:avLst/>
          </a:prstGeom>
        </p:spPr>
      </p:pic>
      <p:graphicFrame>
        <p:nvGraphicFramePr>
          <p:cNvPr id="4" name="Object 3" hidden="1">
            <a:extLst>
              <a:ext uri="{FF2B5EF4-FFF2-40B4-BE49-F238E27FC236}">
                <a16:creationId xmlns:a16="http://schemas.microsoft.com/office/drawing/2014/main" id="{872A6983-643D-E2C4-0874-604C87F8EF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4" name="Object 3" hidden="1">
                        <a:extLst>
                          <a:ext uri="{FF2B5EF4-FFF2-40B4-BE49-F238E27FC236}">
                            <a16:creationId xmlns:a16="http://schemas.microsoft.com/office/drawing/2014/main" id="{872A6983-643D-E2C4-0874-604C87F8EF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2A468B-334A-995E-5FC1-70D0C8CF33A9}"/>
              </a:ext>
            </a:extLst>
          </p:cNvPr>
          <p:cNvSpPr/>
          <p:nvPr>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err="1">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31" name="Title 5">
            <a:extLst>
              <a:ext uri="{FF2B5EF4-FFF2-40B4-BE49-F238E27FC236}">
                <a16:creationId xmlns:a16="http://schemas.microsoft.com/office/drawing/2014/main" id="{34A42958-6DE1-2D42-E36C-E6FB7B7BF117}"/>
              </a:ext>
            </a:extLst>
          </p:cNvPr>
          <p:cNvSpPr>
            <a:spLocks noGrp="1"/>
          </p:cNvSpPr>
          <p:nvPr>
            <p:ph type="title"/>
          </p:nvPr>
        </p:nvSpPr>
        <p:spPr>
          <a:xfrm>
            <a:off x="455042" y="347472"/>
            <a:ext cx="4946706" cy="1280603"/>
          </a:xfrm>
        </p:spPr>
        <p:txBody>
          <a:bodyPr/>
          <a:lstStyle/>
          <a:p>
            <a:pPr>
              <a:lnSpc>
                <a:spcPts val="3140"/>
              </a:lnSpc>
            </a:pPr>
            <a:r>
              <a:rPr lang="en-US" sz="2800"/>
              <a:t>BUILDING OWNERS </a:t>
            </a:r>
            <a:br>
              <a:rPr lang="en-US" sz="2800"/>
            </a:br>
            <a:r>
              <a:rPr lang="en-US" sz="2800"/>
              <a:t>and OPERATORS</a:t>
            </a:r>
            <a:r>
              <a:rPr lang="en-US" sz="3200"/>
              <a:t> </a:t>
            </a:r>
          </a:p>
        </p:txBody>
      </p:sp>
      <p:sp>
        <p:nvSpPr>
          <p:cNvPr id="32" name="Title 5">
            <a:extLst>
              <a:ext uri="{FF2B5EF4-FFF2-40B4-BE49-F238E27FC236}">
                <a16:creationId xmlns:a16="http://schemas.microsoft.com/office/drawing/2014/main" id="{3982B517-FE4A-F830-2E34-2D97C2B40B71}"/>
              </a:ext>
            </a:extLst>
          </p:cNvPr>
          <p:cNvSpPr txBox="1">
            <a:spLocks/>
          </p:cNvSpPr>
          <p:nvPr/>
        </p:nvSpPr>
        <p:spPr>
          <a:xfrm>
            <a:off x="455042" y="1588558"/>
            <a:ext cx="2428059" cy="548868"/>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0" i="0" u="none" strike="noStrike" kern="1200" cap="all" spc="-150" normalizeH="0" baseline="0" noProof="0">
                <a:ln>
                  <a:noFill/>
                </a:ln>
                <a:solidFill>
                  <a:srgbClr val="DC202E"/>
                </a:solidFill>
                <a:effectLst/>
                <a:uLnTx/>
                <a:uFillTx/>
                <a:latin typeface="Arial Black"/>
                <a:ea typeface="+mj-ea"/>
                <a:cs typeface="+mj-cs"/>
              </a:rPr>
              <a:t>priorities for next 12 months</a:t>
            </a:r>
            <a:r>
              <a:rPr kumimoji="0" lang="en-US" sz="2400" b="0" i="0" u="none" strike="noStrike" kern="1200" cap="all" spc="-150" normalizeH="0" baseline="0" noProof="0">
                <a:ln>
                  <a:noFill/>
                </a:ln>
                <a:solidFill>
                  <a:srgbClr val="DC202E"/>
                </a:solidFill>
                <a:effectLst/>
                <a:uLnTx/>
                <a:uFillTx/>
                <a:latin typeface="Arial Black"/>
                <a:ea typeface="+mj-ea"/>
                <a:cs typeface="+mj-cs"/>
              </a:rPr>
              <a:t> </a:t>
            </a:r>
          </a:p>
        </p:txBody>
      </p:sp>
      <p:sp>
        <p:nvSpPr>
          <p:cNvPr id="37" name="Rectangle 36">
            <a:extLst>
              <a:ext uri="{FF2B5EF4-FFF2-40B4-BE49-F238E27FC236}">
                <a16:creationId xmlns:a16="http://schemas.microsoft.com/office/drawing/2014/main" id="{169BD87D-8F31-7FD2-46E2-AF20E93FA932}"/>
              </a:ext>
            </a:extLst>
          </p:cNvPr>
          <p:cNvSpPr/>
          <p:nvPr/>
        </p:nvSpPr>
        <p:spPr>
          <a:xfrm>
            <a:off x="4584970" y="-214045"/>
            <a:ext cx="7778265" cy="7307355"/>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1188FE36-AAA2-4338-7C42-DD5866689052}"/>
              </a:ext>
            </a:extLst>
          </p:cNvPr>
          <p:cNvSpPr txBox="1"/>
          <p:nvPr/>
        </p:nvSpPr>
        <p:spPr>
          <a:xfrm>
            <a:off x="455042" y="2341313"/>
            <a:ext cx="3733896" cy="397031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Honeywell commissioned </a:t>
            </a:r>
            <a:r>
              <a:rPr kumimoji="0" lang="en-US" sz="1400" b="0" i="0" u="none" strike="noStrike" kern="1200" cap="none" spc="0" normalizeH="0" baseline="0" noProof="0" err="1">
                <a:ln>
                  <a:noFill/>
                </a:ln>
                <a:solidFill>
                  <a:prstClr val="black"/>
                </a:solidFill>
                <a:effectLst/>
                <a:uLnTx/>
                <a:uFillTx/>
                <a:latin typeface="Arial"/>
                <a:ea typeface="+mn-ea"/>
                <a:cs typeface="+mn-cs"/>
              </a:rPr>
              <a:t>Verdantix</a:t>
            </a:r>
            <a:r>
              <a:rPr kumimoji="0" lang="en-US" sz="1400" b="0" i="0" u="none" strike="noStrike" kern="1200" cap="none" spc="0" normalizeH="0" baseline="0" noProof="0">
                <a:ln>
                  <a:noFill/>
                </a:ln>
                <a:solidFill>
                  <a:prstClr val="black"/>
                </a:solidFill>
                <a:effectLst/>
                <a:uLnTx/>
                <a:uFillTx/>
                <a:latin typeface="Arial"/>
                <a:ea typeface="+mn-ea"/>
                <a:cs typeface="+mn-cs"/>
              </a:rPr>
              <a:t> to interview 100 building owners</a:t>
            </a:r>
            <a:br>
              <a:rPr kumimoji="0" lang="en-US" sz="1400" b="0" i="0" u="none" strike="noStrike" kern="1200" cap="none" spc="0" normalizeH="0" baseline="0" noProof="0">
                <a:ln>
                  <a:noFill/>
                </a:ln>
                <a:solidFill>
                  <a:prstClr val="black"/>
                </a:solidFill>
                <a:effectLst/>
                <a:uLnTx/>
                <a:uFillTx/>
                <a:latin typeface="Arial"/>
                <a:ea typeface="+mn-ea"/>
                <a:cs typeface="+mn-cs"/>
              </a:rPr>
            </a:br>
            <a:r>
              <a:rPr kumimoji="0" lang="en-US" sz="1400" b="0" i="0" u="none" strike="noStrike" kern="1200" cap="none" spc="0" normalizeH="0" baseline="0" noProof="0">
                <a:ln>
                  <a:noFill/>
                </a:ln>
                <a:solidFill>
                  <a:prstClr val="black"/>
                </a:solidFill>
                <a:effectLst/>
                <a:uLnTx/>
                <a:uFillTx/>
                <a:latin typeface="Arial"/>
                <a:ea typeface="+mn-ea"/>
                <a:cs typeface="+mn-cs"/>
              </a:rPr>
              <a:t>and operators to gain insights into near-term priorities. Geographical representation: </a:t>
            </a:r>
            <a:br>
              <a:rPr kumimoji="0" lang="en-US" sz="1400" b="0" i="0" u="none" strike="noStrike" kern="1200" cap="none" spc="0" normalizeH="0" baseline="0" noProof="0">
                <a:ln>
                  <a:noFill/>
                </a:ln>
                <a:solidFill>
                  <a:prstClr val="black"/>
                </a:solidFill>
                <a:effectLst/>
                <a:uLnTx/>
                <a:uFillTx/>
                <a:latin typeface="Arial"/>
                <a:ea typeface="+mn-ea"/>
                <a:cs typeface="+mn-cs"/>
              </a:rPr>
            </a:b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174625" marR="0" lvl="0" indent="-174625"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United States</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174625" marR="0" lvl="0" indent="-174625"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England</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174625" marR="0" lvl="0" indent="-174625"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Germany</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174625" marR="0" lvl="0" indent="-174625"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United Arab Emirates</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174625" marR="0" lvl="0" indent="-174625"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Turkey </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174625" marR="0" lvl="0" indent="-174625"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Singapore</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174625" marR="0" lvl="0" indent="-174625"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India</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174625" marR="0" lvl="0" indent="-174625"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Malaysia </a:t>
            </a:r>
          </a:p>
          <a:p>
            <a:pPr marL="174625" marR="0" lvl="0" indent="-174625"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Australia</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Industry coverage includes Healthcare, Pharmaceuticals, Manufacturing, Commercial Real Estate and Facility Management Services. </a:t>
            </a:r>
            <a:endParaRPr kumimoji="0" lang="en-US" sz="1800" b="0" i="0" u="none" strike="noStrike" kern="1200" cap="none" spc="0" normalizeH="0" baseline="0" noProof="0">
              <a:ln>
                <a:noFill/>
              </a:ln>
              <a:solidFill>
                <a:prstClr val="black"/>
              </a:solidFill>
              <a:effectLst/>
              <a:uLnTx/>
              <a:uFillTx/>
              <a:latin typeface="Arial"/>
              <a:ea typeface="+mn-ea"/>
              <a:cs typeface="Arial"/>
            </a:endParaRPr>
          </a:p>
        </p:txBody>
      </p:sp>
      <p:sp>
        <p:nvSpPr>
          <p:cNvPr id="39" name="TextBox 38">
            <a:extLst>
              <a:ext uri="{FF2B5EF4-FFF2-40B4-BE49-F238E27FC236}">
                <a16:creationId xmlns:a16="http://schemas.microsoft.com/office/drawing/2014/main" id="{A619DEBE-566F-D2DC-55BB-76D000C6FF2A}"/>
              </a:ext>
            </a:extLst>
          </p:cNvPr>
          <p:cNvSpPr txBox="1"/>
          <p:nvPr/>
        </p:nvSpPr>
        <p:spPr>
          <a:xfrm>
            <a:off x="4881428" y="6139230"/>
            <a:ext cx="6668238" cy="523220"/>
          </a:xfrm>
          <a:prstGeom prst="rect">
            <a:avLst/>
          </a:prstGeom>
          <a:noFill/>
        </p:spPr>
        <p:txBody>
          <a:bodyPr wrap="square" lIns="91440" tIns="45720" rIns="91440" bIns="45720" anchor="t">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t>Information Technology Information Consulting, </a:t>
            </a: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rPr>
              <a:t>Security, Data Breaches Top Cause of Downtime in 2022</a:t>
            </a: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t>, [Accessed May 5, 2023].</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t>Municipalities and governing bodies are increasing new cyber and ESG guidelines: New York City Local Law 97 requires 40% emissions reduction for the city’s largest buildings by 2030</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t>Deloitte Insights, </a:t>
            </a: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hlinkClick r:id="rId10">
                  <a:extLst>
                    <a:ext uri="{A12FA001-AC4F-418D-AE19-62706E023703}">
                      <ahyp:hlinkClr xmlns:ahyp="http://schemas.microsoft.com/office/drawing/2018/hyperlinkcolor" val="tx"/>
                    </a:ext>
                  </a:extLst>
                </a:hlinkClick>
              </a:rPr>
              <a:t>Making Maintenance Smarter, Predictive Maintenance and the Digital Supply </a:t>
            </a:r>
            <a:r>
              <a:rPr kumimoji="0" lang="en-US" sz="700" b="0" i="0" u="sng" strike="noStrike" kern="1200" cap="none" spc="0" normalizeH="0" baseline="0" noProof="0">
                <a:ln>
                  <a:noFill/>
                </a:ln>
                <a:solidFill>
                  <a:prstClr val="white"/>
                </a:solidFill>
                <a:effectLst/>
                <a:uLnTx/>
                <a:uFillTx/>
                <a:latin typeface="Arial" panose="020B0604020202020204"/>
                <a:ea typeface="+mn-ea"/>
                <a:cs typeface="+mn-cs"/>
              </a:rPr>
              <a:t>Network</a:t>
            </a: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t>, 7 May 2017, [Accessed May 5, 2023].</a:t>
            </a:r>
          </a:p>
        </p:txBody>
      </p:sp>
      <p:sp>
        <p:nvSpPr>
          <p:cNvPr id="10" name="Text Placeholder 4">
            <a:extLst>
              <a:ext uri="{FF2B5EF4-FFF2-40B4-BE49-F238E27FC236}">
                <a16:creationId xmlns:a16="http://schemas.microsoft.com/office/drawing/2014/main" id="{F4CF85CF-92EE-B360-F3D4-DBF608102590}"/>
              </a:ext>
            </a:extLst>
          </p:cNvPr>
          <p:cNvSpPr txBox="1">
            <a:spLocks/>
          </p:cNvSpPr>
          <p:nvPr/>
        </p:nvSpPr>
        <p:spPr>
          <a:xfrm>
            <a:off x="5279073" y="981412"/>
            <a:ext cx="2732090" cy="535737"/>
          </a:xfrm>
          <a:prstGeom prst="rect">
            <a:avLst/>
          </a:prstGeom>
        </p:spPr>
        <p:txBody>
          <a:bodyPr vert="horz" lIns="0" tIns="0" rIns="0" bIns="0" rtlCol="0">
            <a:noAutofit/>
          </a:bodyPr>
          <a:lstStyle>
            <a:lvl1pPr marL="0" indent="0" algn="l" defTabSz="914400" rtl="0" eaLnBrk="1" latinLnBrk="0" hangingPunct="1">
              <a:lnSpc>
                <a:spcPts val="1740"/>
              </a:lnSpc>
              <a:spcBef>
                <a:spcPts val="0"/>
              </a:spcBef>
              <a:spcAft>
                <a:spcPts val="600"/>
              </a:spcAft>
              <a:buFontTx/>
              <a:buNone/>
              <a:defRPr sz="1600" b="1" kern="1200">
                <a:solidFill>
                  <a:schemeClr val="tx1"/>
                </a:solidFill>
                <a:latin typeface="+mn-lt"/>
                <a:ea typeface="+mn-ea"/>
                <a:cs typeface="+mn-cs"/>
              </a:defRPr>
            </a:lvl1pPr>
            <a:lvl2pPr marL="182880"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182880"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182880" indent="-228600" algn="l" defTabSz="914400" rtl="0" eaLnBrk="1" latinLnBrk="0" hangingPunct="1">
              <a:lnSpc>
                <a:spcPct val="100000"/>
              </a:lnSpc>
              <a:spcBef>
                <a:spcPts val="0"/>
              </a:spcBef>
              <a:spcAft>
                <a:spcPts val="600"/>
              </a:spcAft>
              <a:buClr>
                <a:schemeClr val="accent6">
                  <a:lumMod val="25000"/>
                </a:schemeClr>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rgbClr val="5C5C5C"/>
              </a:buClr>
              <a:buFont typeface="System Font Regular"/>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t>OPERATIONAL UPTIME</a:t>
            </a:r>
          </a:p>
        </p:txBody>
      </p:sp>
      <p:sp>
        <p:nvSpPr>
          <p:cNvPr id="11" name="Text Placeholder 5">
            <a:extLst>
              <a:ext uri="{FF2B5EF4-FFF2-40B4-BE49-F238E27FC236}">
                <a16:creationId xmlns:a16="http://schemas.microsoft.com/office/drawing/2014/main" id="{2DF675F1-8A89-4DE4-E01C-3FE0A527720A}"/>
              </a:ext>
            </a:extLst>
          </p:cNvPr>
          <p:cNvSpPr txBox="1">
            <a:spLocks/>
          </p:cNvSpPr>
          <p:nvPr/>
        </p:nvSpPr>
        <p:spPr>
          <a:xfrm>
            <a:off x="8734190" y="981412"/>
            <a:ext cx="3198507" cy="535737"/>
          </a:xfrm>
          <a:prstGeom prst="rect">
            <a:avLst/>
          </a:prstGeom>
        </p:spPr>
        <p:txBody>
          <a:bodyPr vert="horz" lIns="0" tIns="0" rIns="0" bIns="0" rtlCol="0" anchor="t">
            <a:noAutofit/>
          </a:bodyPr>
          <a:lstStyle>
            <a:lvl1pPr marL="0" indent="0" algn="l" defTabSz="914400" rtl="0" eaLnBrk="1" latinLnBrk="0" hangingPunct="1">
              <a:lnSpc>
                <a:spcPts val="1740"/>
              </a:lnSpc>
              <a:spcBef>
                <a:spcPts val="0"/>
              </a:spcBef>
              <a:spcAft>
                <a:spcPts val="600"/>
              </a:spcAft>
              <a:buFontTx/>
              <a:buNone/>
              <a:defRPr sz="1600" b="1" kern="1200">
                <a:solidFill>
                  <a:schemeClr val="tx1"/>
                </a:solidFill>
                <a:latin typeface="+mn-lt"/>
                <a:ea typeface="+mn-ea"/>
                <a:cs typeface="+mn-cs"/>
              </a:defRPr>
            </a:lvl1pPr>
            <a:lvl2pPr marL="182880"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182880"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182880" indent="-228600" algn="l" defTabSz="914400" rtl="0" eaLnBrk="1" latinLnBrk="0" hangingPunct="1">
              <a:lnSpc>
                <a:spcPct val="100000"/>
              </a:lnSpc>
              <a:spcBef>
                <a:spcPts val="0"/>
              </a:spcBef>
              <a:spcAft>
                <a:spcPts val="600"/>
              </a:spcAft>
              <a:buClr>
                <a:schemeClr val="accent6">
                  <a:lumMod val="25000"/>
                </a:schemeClr>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rgbClr val="5C5C5C"/>
              </a:buClr>
              <a:buFont typeface="System Font Regular"/>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t>ENERGY EFFICIENCY</a:t>
            </a:r>
            <a:b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br>
            <a: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t>&amp; RESILIENCE</a:t>
            </a:r>
          </a:p>
        </p:txBody>
      </p:sp>
      <p:sp>
        <p:nvSpPr>
          <p:cNvPr id="12" name="Text Placeholder 6">
            <a:extLst>
              <a:ext uri="{FF2B5EF4-FFF2-40B4-BE49-F238E27FC236}">
                <a16:creationId xmlns:a16="http://schemas.microsoft.com/office/drawing/2014/main" id="{F3643595-8199-BA22-D2BB-567806E91EE9}"/>
              </a:ext>
            </a:extLst>
          </p:cNvPr>
          <p:cNvSpPr txBox="1">
            <a:spLocks/>
          </p:cNvSpPr>
          <p:nvPr/>
        </p:nvSpPr>
        <p:spPr>
          <a:xfrm>
            <a:off x="5292436" y="3252851"/>
            <a:ext cx="2732090" cy="535737"/>
          </a:xfrm>
          <a:prstGeom prst="rect">
            <a:avLst/>
          </a:prstGeom>
        </p:spPr>
        <p:txBody>
          <a:bodyPr vert="horz" lIns="0" tIns="0" rIns="0" bIns="0" rtlCol="0">
            <a:noAutofit/>
          </a:bodyPr>
          <a:lstStyle>
            <a:lvl1pPr marL="0" indent="0" algn="l" defTabSz="914400" rtl="0" eaLnBrk="1" latinLnBrk="0" hangingPunct="1">
              <a:lnSpc>
                <a:spcPts val="1740"/>
              </a:lnSpc>
              <a:spcBef>
                <a:spcPts val="0"/>
              </a:spcBef>
              <a:spcAft>
                <a:spcPts val="600"/>
              </a:spcAft>
              <a:buFontTx/>
              <a:buNone/>
              <a:defRPr sz="1600" b="1" kern="1200">
                <a:solidFill>
                  <a:schemeClr val="tx1"/>
                </a:solidFill>
                <a:latin typeface="+mn-lt"/>
                <a:ea typeface="+mn-ea"/>
                <a:cs typeface="+mn-cs"/>
              </a:defRPr>
            </a:lvl1pPr>
            <a:lvl2pPr marL="182880"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182880"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182880" indent="-228600" algn="l" defTabSz="914400" rtl="0" eaLnBrk="1" latinLnBrk="0" hangingPunct="1">
              <a:lnSpc>
                <a:spcPct val="100000"/>
              </a:lnSpc>
              <a:spcBef>
                <a:spcPts val="0"/>
              </a:spcBef>
              <a:spcAft>
                <a:spcPts val="600"/>
              </a:spcAft>
              <a:buClr>
                <a:schemeClr val="accent6">
                  <a:lumMod val="25000"/>
                </a:schemeClr>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rgbClr val="5C5C5C"/>
              </a:buClr>
              <a:buFont typeface="System Font Regular"/>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t>COMPLIANCE WITH REGULATIONS</a:t>
            </a:r>
          </a:p>
        </p:txBody>
      </p:sp>
      <p:sp>
        <p:nvSpPr>
          <p:cNvPr id="13" name="Text Placeholder 7">
            <a:extLst>
              <a:ext uri="{FF2B5EF4-FFF2-40B4-BE49-F238E27FC236}">
                <a16:creationId xmlns:a16="http://schemas.microsoft.com/office/drawing/2014/main" id="{4355C620-EFE2-E679-6C8B-DB99B9A9E994}"/>
              </a:ext>
            </a:extLst>
          </p:cNvPr>
          <p:cNvSpPr txBox="1">
            <a:spLocks/>
          </p:cNvSpPr>
          <p:nvPr/>
        </p:nvSpPr>
        <p:spPr>
          <a:xfrm>
            <a:off x="5285877" y="1519173"/>
            <a:ext cx="2233572" cy="1259940"/>
          </a:xfrm>
          <a:prstGeom prst="rect">
            <a:avLst/>
          </a:prstGeom>
        </p:spPr>
        <p:txBody>
          <a:bodyPr vert="horz" lIns="0" tIns="0" rIns="0" bIns="0" rtlCol="0" anchor="t">
            <a:noAutofit/>
          </a:bodyPr>
          <a:lstStyle>
            <a:lvl1pPr marL="0" indent="0" algn="l" defTabSz="914400" rtl="0" eaLnBrk="1" latinLnBrk="0" hangingPunct="1">
              <a:lnSpc>
                <a:spcPts val="1690"/>
              </a:lnSpc>
              <a:spcBef>
                <a:spcPts val="0"/>
              </a:spcBef>
              <a:spcAft>
                <a:spcPts val="600"/>
              </a:spcAft>
              <a:buFontTx/>
              <a:buNone/>
              <a:defRPr sz="1400" b="0" i="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0"/>
              </a:spcBef>
              <a:spcAft>
                <a:spcPts val="600"/>
              </a:spcAft>
              <a:buClr>
                <a:schemeClr val="accent1"/>
              </a:buClr>
              <a:buFontTx/>
              <a:buNone/>
              <a:defRPr sz="2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Clr>
                <a:schemeClr val="tx1"/>
              </a:buClr>
              <a:buFontTx/>
              <a:buNone/>
              <a:defRPr sz="20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Clr>
                <a:schemeClr val="accent6">
                  <a:lumMod val="25000"/>
                </a:schemeClr>
              </a:buClr>
              <a:buFontTx/>
              <a:buNone/>
              <a:defRPr sz="18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Clr>
                <a:srgbClr val="5C5C5C"/>
              </a:buClr>
              <a:buFontTx/>
              <a:buNone/>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0" normalizeH="0" baseline="0" noProof="0">
                <a:ln>
                  <a:noFill/>
                </a:ln>
                <a:solidFill>
                  <a:srgbClr val="DC202E"/>
                </a:solidFill>
                <a:effectLst/>
                <a:uLnTx/>
                <a:uFillTx/>
                <a:latin typeface="Arial Black"/>
                <a:ea typeface="+mn-ea"/>
                <a:cs typeface="Arial" panose="020B0604020202020204" pitchFamily="34" charset="0"/>
              </a:rPr>
              <a:t>64%</a:t>
            </a:r>
            <a:r>
              <a:rPr kumimoji="0" lang="en-US" sz="5000" b="0" i="0" u="none" strike="noStrike" kern="1200" cap="none" spc="0" normalizeH="0" baseline="30000" noProof="0">
                <a:ln>
                  <a:noFill/>
                </a:ln>
                <a:solidFill>
                  <a:srgbClr val="FF0000"/>
                </a:solidFill>
                <a:effectLst/>
                <a:uLnTx/>
                <a:uFillTx/>
                <a:latin typeface="Arial Black"/>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panose="020B0604020202020204" pitchFamily="34" charset="0"/>
              </a:rPr>
              <a:t>high priority for reducing asset downtime.  </a:t>
            </a: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 Placeholder 9">
            <a:extLst>
              <a:ext uri="{FF2B5EF4-FFF2-40B4-BE49-F238E27FC236}">
                <a16:creationId xmlns:a16="http://schemas.microsoft.com/office/drawing/2014/main" id="{14DDD030-B44A-5180-EEF7-F8D307AD6BC2}"/>
              </a:ext>
            </a:extLst>
          </p:cNvPr>
          <p:cNvSpPr txBox="1">
            <a:spLocks/>
          </p:cNvSpPr>
          <p:nvPr/>
        </p:nvSpPr>
        <p:spPr>
          <a:xfrm>
            <a:off x="5288472" y="3784656"/>
            <a:ext cx="2522814" cy="1085432"/>
          </a:xfrm>
          <a:prstGeom prst="rect">
            <a:avLst/>
          </a:prstGeom>
        </p:spPr>
        <p:txBody>
          <a:bodyPr vert="horz" lIns="0" tIns="0" rIns="0" bIns="0" rtlCol="0">
            <a:noAutofit/>
          </a:bodyPr>
          <a:lstStyle>
            <a:lvl1pPr marL="0" indent="0" algn="l" defTabSz="914400" rtl="0" eaLnBrk="1" latinLnBrk="0" hangingPunct="1">
              <a:lnSpc>
                <a:spcPts val="1690"/>
              </a:lnSpc>
              <a:spcBef>
                <a:spcPts val="0"/>
              </a:spcBef>
              <a:spcAft>
                <a:spcPts val="600"/>
              </a:spcAft>
              <a:buFontTx/>
              <a:buNone/>
              <a:defRPr sz="1400" b="0" i="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0"/>
              </a:spcBef>
              <a:spcAft>
                <a:spcPts val="600"/>
              </a:spcAft>
              <a:buClr>
                <a:schemeClr val="accent1"/>
              </a:buClr>
              <a:buFontTx/>
              <a:buNone/>
              <a:defRPr sz="2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Clr>
                <a:schemeClr val="tx1"/>
              </a:buClr>
              <a:buFontTx/>
              <a:buNone/>
              <a:defRPr sz="20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Clr>
                <a:schemeClr val="accent6">
                  <a:lumMod val="25000"/>
                </a:schemeClr>
              </a:buClr>
              <a:buFontTx/>
              <a:buNone/>
              <a:defRPr sz="18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Clr>
                <a:srgbClr val="5C5C5C"/>
              </a:buClr>
              <a:buFontTx/>
              <a:buNone/>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0" normalizeH="0" baseline="0" noProof="0">
                <a:ln>
                  <a:noFill/>
                </a:ln>
                <a:solidFill>
                  <a:srgbClr val="DC202E"/>
                </a:solidFill>
                <a:effectLst/>
                <a:uLnTx/>
                <a:uFillTx/>
                <a:latin typeface="Arial Black"/>
                <a:ea typeface="+mn-ea"/>
                <a:cs typeface="Arial" panose="020B0604020202020204" pitchFamily="34" charset="0"/>
              </a:rPr>
              <a:t>67%</a:t>
            </a:r>
            <a:r>
              <a:rPr kumimoji="0" lang="en-US" sz="5000" b="0" i="0" u="none" strike="noStrike" kern="1200" cap="none" spc="0" normalizeH="0" baseline="0" noProof="0">
                <a:ln>
                  <a:noFill/>
                </a:ln>
                <a:solidFill>
                  <a:srgbClr val="DC202E"/>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panose="020B0604020202020204" pitchFamily="34" charset="0"/>
              </a:rPr>
              <a:t>being compliant with the increasingly complex government and industry regulations. </a:t>
            </a:r>
            <a:endParaRPr kumimoji="0" lang="en-US" sz="1400" b="0" i="0" u="none" strike="noStrike" kern="1200" cap="none" spc="0" normalizeH="0" baseline="30000" noProof="0">
              <a:ln>
                <a:noFill/>
              </a:ln>
              <a:solidFill>
                <a:prstClr val="white"/>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 Placeholder 8">
            <a:extLst>
              <a:ext uri="{FF2B5EF4-FFF2-40B4-BE49-F238E27FC236}">
                <a16:creationId xmlns:a16="http://schemas.microsoft.com/office/drawing/2014/main" id="{5EC1A210-9251-490D-0CED-8D9463F9122E}"/>
              </a:ext>
            </a:extLst>
          </p:cNvPr>
          <p:cNvSpPr txBox="1">
            <a:spLocks/>
          </p:cNvSpPr>
          <p:nvPr/>
        </p:nvSpPr>
        <p:spPr>
          <a:xfrm>
            <a:off x="8745175" y="1524044"/>
            <a:ext cx="2538503" cy="1228285"/>
          </a:xfrm>
          <a:prstGeom prst="rect">
            <a:avLst/>
          </a:prstGeom>
        </p:spPr>
        <p:txBody>
          <a:bodyPr vert="horz" lIns="0" tIns="0" rIns="0" bIns="0" rtlCol="0">
            <a:noAutofit/>
          </a:bodyPr>
          <a:lstStyle>
            <a:lvl1pPr marL="0" indent="0" algn="l" defTabSz="914400" rtl="0" eaLnBrk="1" latinLnBrk="0" hangingPunct="1">
              <a:lnSpc>
                <a:spcPts val="1690"/>
              </a:lnSpc>
              <a:spcBef>
                <a:spcPts val="0"/>
              </a:spcBef>
              <a:spcAft>
                <a:spcPts val="600"/>
              </a:spcAft>
              <a:buFontTx/>
              <a:buNone/>
              <a:defRPr sz="1400" b="0" i="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0"/>
              </a:spcBef>
              <a:spcAft>
                <a:spcPts val="600"/>
              </a:spcAft>
              <a:buClr>
                <a:schemeClr val="accent1"/>
              </a:buClr>
              <a:buFontTx/>
              <a:buNone/>
              <a:defRPr sz="2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Clr>
                <a:schemeClr val="tx1"/>
              </a:buClr>
              <a:buFontTx/>
              <a:buNone/>
              <a:defRPr sz="20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Clr>
                <a:schemeClr val="accent6">
                  <a:lumMod val="25000"/>
                </a:schemeClr>
              </a:buClr>
              <a:buFontTx/>
              <a:buNone/>
              <a:defRPr sz="18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Clr>
                <a:srgbClr val="5C5C5C"/>
              </a:buClr>
              <a:buFontTx/>
              <a:buNone/>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0" normalizeH="0" baseline="0" noProof="0">
                <a:ln>
                  <a:noFill/>
                </a:ln>
                <a:solidFill>
                  <a:srgbClr val="DC202E"/>
                </a:solidFill>
                <a:effectLst/>
                <a:uLnTx/>
                <a:uFillTx/>
                <a:latin typeface="Arial Black"/>
                <a:ea typeface="+mn-ea"/>
                <a:cs typeface="Arial" panose="020B0604020202020204" pitchFamily="34" charset="0"/>
              </a:rPr>
              <a:t>6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panose="020B0604020202020204" pitchFamily="34" charset="0"/>
              </a:rPr>
              <a:t>high priority for achieving net-zero targets</a:t>
            </a:r>
          </a:p>
        </p:txBody>
      </p:sp>
      <p:sp>
        <p:nvSpPr>
          <p:cNvPr id="16" name="Text Placeholder 5">
            <a:extLst>
              <a:ext uri="{FF2B5EF4-FFF2-40B4-BE49-F238E27FC236}">
                <a16:creationId xmlns:a16="http://schemas.microsoft.com/office/drawing/2014/main" id="{2B3A2204-AD23-187C-2F4A-C8CA00A4745F}"/>
              </a:ext>
            </a:extLst>
          </p:cNvPr>
          <p:cNvSpPr txBox="1">
            <a:spLocks/>
          </p:cNvSpPr>
          <p:nvPr/>
        </p:nvSpPr>
        <p:spPr>
          <a:xfrm>
            <a:off x="8750176" y="3252851"/>
            <a:ext cx="2922120" cy="535737"/>
          </a:xfrm>
          <a:prstGeom prst="rect">
            <a:avLst/>
          </a:prstGeom>
        </p:spPr>
        <p:txBody>
          <a:bodyPr vert="horz" lIns="0" tIns="0" rIns="0" bIns="0" rtlCol="0">
            <a:noAutofit/>
          </a:bodyPr>
          <a:lstStyle>
            <a:lvl1pPr marL="0" indent="0" algn="l" defTabSz="914400" rtl="0" eaLnBrk="1" latinLnBrk="0" hangingPunct="1">
              <a:lnSpc>
                <a:spcPts val="1740"/>
              </a:lnSpc>
              <a:spcBef>
                <a:spcPts val="0"/>
              </a:spcBef>
              <a:spcAft>
                <a:spcPts val="600"/>
              </a:spcAft>
              <a:buFontTx/>
              <a:buNone/>
              <a:defRPr sz="1600" b="1" kern="1200">
                <a:solidFill>
                  <a:schemeClr val="tx1"/>
                </a:solidFill>
                <a:latin typeface="+mn-lt"/>
                <a:ea typeface="+mn-ea"/>
                <a:cs typeface="+mn-cs"/>
              </a:defRPr>
            </a:lvl1pPr>
            <a:lvl2pPr marL="182880"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182880"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182880" indent="-228600" algn="l" defTabSz="914400" rtl="0" eaLnBrk="1" latinLnBrk="0" hangingPunct="1">
              <a:lnSpc>
                <a:spcPct val="100000"/>
              </a:lnSpc>
              <a:spcBef>
                <a:spcPts val="0"/>
              </a:spcBef>
              <a:spcAft>
                <a:spcPts val="600"/>
              </a:spcAft>
              <a:buClr>
                <a:schemeClr val="accent6">
                  <a:lumMod val="25000"/>
                </a:schemeClr>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rgbClr val="5C5C5C"/>
              </a:buClr>
              <a:buFont typeface="System Font Regular"/>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t>RISK</a:t>
            </a:r>
            <a:b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br>
            <a:r>
              <a:rPr kumimoji="0" lang="en-US" sz="1800" b="1" i="0" u="none" strike="noStrike" kern="1200" cap="none" spc="0" normalizeH="0" baseline="0" noProof="0">
                <a:ln>
                  <a:noFill/>
                </a:ln>
                <a:solidFill>
                  <a:prstClr val="white"/>
                </a:solidFill>
                <a:effectLst/>
                <a:uLnTx/>
                <a:uFillTx/>
                <a:latin typeface="Arial Black" panose="020B0A04020102020204"/>
                <a:ea typeface="+mn-ea"/>
                <a:cs typeface="+mn-cs"/>
              </a:rPr>
              <a:t>MITIGATION</a:t>
            </a:r>
          </a:p>
        </p:txBody>
      </p:sp>
      <p:sp>
        <p:nvSpPr>
          <p:cNvPr id="18" name="Text Placeholder 8">
            <a:extLst>
              <a:ext uri="{FF2B5EF4-FFF2-40B4-BE49-F238E27FC236}">
                <a16:creationId xmlns:a16="http://schemas.microsoft.com/office/drawing/2014/main" id="{22F15F7B-AD02-AF14-80AE-A2150E85A2D0}"/>
              </a:ext>
            </a:extLst>
          </p:cNvPr>
          <p:cNvSpPr txBox="1">
            <a:spLocks/>
          </p:cNvSpPr>
          <p:nvPr/>
        </p:nvSpPr>
        <p:spPr>
          <a:xfrm>
            <a:off x="8750802" y="3784655"/>
            <a:ext cx="2555071" cy="1546069"/>
          </a:xfrm>
          <a:prstGeom prst="rect">
            <a:avLst/>
          </a:prstGeom>
        </p:spPr>
        <p:txBody>
          <a:bodyPr vert="horz" lIns="0" tIns="0" rIns="0" bIns="0" rtlCol="0">
            <a:noAutofit/>
          </a:bodyPr>
          <a:lstStyle>
            <a:lvl1pPr marL="0" indent="0" algn="l" defTabSz="914400" rtl="0" eaLnBrk="1" latinLnBrk="0" hangingPunct="1">
              <a:lnSpc>
                <a:spcPts val="1690"/>
              </a:lnSpc>
              <a:spcBef>
                <a:spcPts val="0"/>
              </a:spcBef>
              <a:spcAft>
                <a:spcPts val="600"/>
              </a:spcAft>
              <a:buFontTx/>
              <a:buNone/>
              <a:defRPr sz="1400" b="0" i="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0"/>
              </a:spcBef>
              <a:spcAft>
                <a:spcPts val="600"/>
              </a:spcAft>
              <a:buClr>
                <a:schemeClr val="accent1"/>
              </a:buClr>
              <a:buFontTx/>
              <a:buNone/>
              <a:defRPr sz="2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Clr>
                <a:schemeClr val="tx1"/>
              </a:buClr>
              <a:buFontTx/>
              <a:buNone/>
              <a:defRPr sz="20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Clr>
                <a:schemeClr val="accent6">
                  <a:lumMod val="25000"/>
                </a:schemeClr>
              </a:buClr>
              <a:buFontTx/>
              <a:buNone/>
              <a:defRPr sz="18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Clr>
                <a:srgbClr val="5C5C5C"/>
              </a:buClr>
              <a:buFontTx/>
              <a:buNone/>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0" normalizeH="0" baseline="0" noProof="0">
                <a:ln>
                  <a:noFill/>
                </a:ln>
                <a:solidFill>
                  <a:srgbClr val="DC202E"/>
                </a:solidFill>
                <a:effectLst/>
                <a:uLnTx/>
                <a:uFillTx/>
                <a:latin typeface="Arial Black"/>
                <a:ea typeface="+mn-ea"/>
                <a:cs typeface="Arial" panose="020B0604020202020204" pitchFamily="34" charset="0"/>
              </a:rPr>
              <a:t>7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panose="020B0604020202020204" pitchFamily="34" charset="0"/>
              </a:rPr>
              <a:t>recognize value of asset failure prediction software</a:t>
            </a:r>
            <a:endParaRPr kumimoji="0" lang="en-US" sz="1400" b="0" i="0" u="none" strike="noStrike" kern="1200" cap="none" spc="0" normalizeH="0" baseline="30000" noProof="0">
              <a:ln>
                <a:noFill/>
              </a:ln>
              <a:solidFill>
                <a:prstClr val="white"/>
              </a:solidFill>
              <a:effectLst/>
              <a:uLnTx/>
              <a:uFillTx/>
              <a:latin typeface="Arial"/>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841626E1-9A2C-85A8-F504-55282DC3D9FB}"/>
              </a:ext>
            </a:extLst>
          </p:cNvPr>
          <p:cNvCxnSpPr>
            <a:cxnSpLocks/>
          </p:cNvCxnSpPr>
          <p:nvPr/>
        </p:nvCxnSpPr>
        <p:spPr>
          <a:xfrm>
            <a:off x="5152978" y="981412"/>
            <a:ext cx="4141" cy="1809553"/>
          </a:xfrm>
          <a:prstGeom prst="line">
            <a:avLst/>
          </a:prstGeom>
          <a:ln w="28575">
            <a:solidFill>
              <a:srgbClr val="EE312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1D84D59-24FE-E0EE-4C11-43E931C5661F}"/>
              </a:ext>
            </a:extLst>
          </p:cNvPr>
          <p:cNvCxnSpPr>
            <a:cxnSpLocks/>
          </p:cNvCxnSpPr>
          <p:nvPr/>
        </p:nvCxnSpPr>
        <p:spPr>
          <a:xfrm>
            <a:off x="8577836" y="981412"/>
            <a:ext cx="4141" cy="1809553"/>
          </a:xfrm>
          <a:prstGeom prst="line">
            <a:avLst/>
          </a:prstGeom>
          <a:ln w="28575">
            <a:solidFill>
              <a:srgbClr val="EE3124"/>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AF3BC03-6E33-369A-EBEB-A313CDAFEF0C}"/>
              </a:ext>
            </a:extLst>
          </p:cNvPr>
          <p:cNvCxnSpPr>
            <a:cxnSpLocks/>
          </p:cNvCxnSpPr>
          <p:nvPr/>
        </p:nvCxnSpPr>
        <p:spPr>
          <a:xfrm>
            <a:off x="5152977" y="3252851"/>
            <a:ext cx="4141" cy="1937933"/>
          </a:xfrm>
          <a:prstGeom prst="line">
            <a:avLst/>
          </a:prstGeom>
          <a:ln w="28575">
            <a:solidFill>
              <a:srgbClr val="EE312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2C41271-3F5F-A55F-542E-00B1D3912227}"/>
              </a:ext>
            </a:extLst>
          </p:cNvPr>
          <p:cNvCxnSpPr>
            <a:cxnSpLocks/>
          </p:cNvCxnSpPr>
          <p:nvPr/>
        </p:nvCxnSpPr>
        <p:spPr>
          <a:xfrm>
            <a:off x="8577835" y="3252851"/>
            <a:ext cx="4141" cy="1937933"/>
          </a:xfrm>
          <a:prstGeom prst="line">
            <a:avLst/>
          </a:prstGeom>
          <a:ln w="28575">
            <a:solidFill>
              <a:srgbClr val="EE312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6938225"/>
      </p:ext>
    </p:extLst>
  </p:cSld>
  <p:clrMapOvr>
    <a:masterClrMapping/>
  </p:clrMapOvr>
  <p:extLst>
    <p:ext uri="{6950BFC3-D8DA-4A85-94F7-54DA5524770B}">
      <p188:commentRel xmlns:p188="http://schemas.microsoft.com/office/powerpoint/2018/8/main" r:id="rId5"/>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B5F8B-F91A-DA4A-763C-0BFF81B25872}"/>
            </a:ext>
          </a:extLst>
        </p:cNvPr>
        <p:cNvGrpSpPr/>
        <p:nvPr/>
      </p:nvGrpSpPr>
      <p:grpSpPr>
        <a:xfrm>
          <a:off x="0" y="0"/>
          <a:ext cx="0" cy="0"/>
          <a:chOff x="0" y="0"/>
          <a:chExt cx="0" cy="0"/>
        </a:xfrm>
      </p:grpSpPr>
      <p:graphicFrame>
        <p:nvGraphicFramePr>
          <p:cNvPr id="96" name="think-cell data - do not delete" hidden="1">
            <a:extLst>
              <a:ext uri="{FF2B5EF4-FFF2-40B4-BE49-F238E27FC236}">
                <a16:creationId xmlns:a16="http://schemas.microsoft.com/office/drawing/2014/main" id="{8A19E7AC-3CA9-28C3-D4E5-65C968FF57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6" name="think-cell data - do not delete" hidden="1">
                        <a:extLst>
                          <a:ext uri="{FF2B5EF4-FFF2-40B4-BE49-F238E27FC236}">
                            <a16:creationId xmlns:a16="http://schemas.microsoft.com/office/drawing/2014/main" id="{8A19E7AC-3CA9-28C3-D4E5-65C968FF57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9BE052-AC2E-5584-5F75-73E90D77453E}"/>
              </a:ext>
            </a:extLst>
          </p:cNvPr>
          <p:cNvSpPr>
            <a:spLocks noGrp="1"/>
          </p:cNvSpPr>
          <p:nvPr>
            <p:ph type="title"/>
          </p:nvPr>
        </p:nvSpPr>
        <p:spPr>
          <a:xfrm>
            <a:off x="557784" y="347472"/>
            <a:ext cx="11594764" cy="353174"/>
          </a:xfrm>
        </p:spPr>
        <p:txBody>
          <a:bodyPr vert="horz"/>
          <a:lstStyle/>
          <a:p>
            <a:r>
              <a:rPr lang="en-US" sz="2800"/>
              <a:t>CUSTOMER BENEFITS</a:t>
            </a:r>
          </a:p>
        </p:txBody>
      </p:sp>
      <p:sp>
        <p:nvSpPr>
          <p:cNvPr id="3" name="Slide Number Placeholder 2">
            <a:extLst>
              <a:ext uri="{FF2B5EF4-FFF2-40B4-BE49-F238E27FC236}">
                <a16:creationId xmlns:a16="http://schemas.microsoft.com/office/drawing/2014/main" id="{1727D2FA-3D52-1808-92FF-71B8B411D8C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41" name="Freeform 19">
            <a:extLst>
              <a:ext uri="{FF2B5EF4-FFF2-40B4-BE49-F238E27FC236}">
                <a16:creationId xmlns:a16="http://schemas.microsoft.com/office/drawing/2014/main" id="{9C26E1EA-5E43-9B9E-444D-C7416B474FF8}"/>
              </a:ext>
            </a:extLst>
          </p:cNvPr>
          <p:cNvSpPr>
            <a:spLocks/>
          </p:cNvSpPr>
          <p:nvPr/>
        </p:nvSpPr>
        <p:spPr bwMode="auto">
          <a:xfrm>
            <a:off x="4062412" y="1542414"/>
            <a:ext cx="2514819" cy="2063224"/>
          </a:xfrm>
          <a:custGeom>
            <a:avLst/>
            <a:gdLst/>
            <a:ahLst/>
            <a:cxnLst>
              <a:cxn ang="0">
                <a:pos x="313" y="0"/>
              </a:cxn>
              <a:cxn ang="0">
                <a:pos x="313" y="73"/>
              </a:cxn>
              <a:cxn ang="0">
                <a:pos x="316" y="69"/>
              </a:cxn>
              <a:cxn ang="0">
                <a:pos x="346" y="57"/>
              </a:cxn>
              <a:cxn ang="0">
                <a:pos x="376" y="69"/>
              </a:cxn>
              <a:cxn ang="0">
                <a:pos x="389" y="99"/>
              </a:cxn>
              <a:cxn ang="0">
                <a:pos x="376" y="129"/>
              </a:cxn>
              <a:cxn ang="0">
                <a:pos x="346" y="142"/>
              </a:cxn>
              <a:cxn ang="0">
                <a:pos x="316" y="129"/>
              </a:cxn>
              <a:cxn ang="0">
                <a:pos x="313" y="126"/>
              </a:cxn>
              <a:cxn ang="0">
                <a:pos x="313" y="175"/>
              </a:cxn>
              <a:cxn ang="0">
                <a:pos x="216" y="216"/>
              </a:cxn>
              <a:cxn ang="0">
                <a:pos x="176" y="315"/>
              </a:cxn>
              <a:cxn ang="0">
                <a:pos x="176" y="319"/>
              </a:cxn>
              <a:cxn ang="0">
                <a:pos x="123" y="319"/>
              </a:cxn>
              <a:cxn ang="0">
                <a:pos x="128" y="315"/>
              </a:cxn>
              <a:cxn ang="0">
                <a:pos x="140" y="285"/>
              </a:cxn>
              <a:cxn ang="0">
                <a:pos x="128" y="254"/>
              </a:cxn>
              <a:cxn ang="0">
                <a:pos x="98" y="242"/>
              </a:cxn>
              <a:cxn ang="0">
                <a:pos x="68" y="254"/>
              </a:cxn>
              <a:cxn ang="0">
                <a:pos x="55" y="285"/>
              </a:cxn>
              <a:cxn ang="0">
                <a:pos x="68" y="315"/>
              </a:cxn>
              <a:cxn ang="0">
                <a:pos x="72" y="319"/>
              </a:cxn>
              <a:cxn ang="0">
                <a:pos x="0" y="319"/>
              </a:cxn>
              <a:cxn ang="0">
                <a:pos x="0" y="315"/>
              </a:cxn>
              <a:cxn ang="0">
                <a:pos x="92" y="92"/>
              </a:cxn>
              <a:cxn ang="0">
                <a:pos x="279" y="2"/>
              </a:cxn>
              <a:cxn ang="0">
                <a:pos x="313" y="0"/>
              </a:cxn>
            </a:cxnLst>
            <a:rect l="0" t="0" r="r" b="b"/>
            <a:pathLst>
              <a:path w="389" h="319">
                <a:moveTo>
                  <a:pt x="313" y="0"/>
                </a:moveTo>
                <a:cubicBezTo>
                  <a:pt x="313" y="73"/>
                  <a:pt x="313" y="73"/>
                  <a:pt x="313" y="73"/>
                </a:cubicBezTo>
                <a:cubicBezTo>
                  <a:pt x="314" y="71"/>
                  <a:pt x="315" y="70"/>
                  <a:pt x="316" y="69"/>
                </a:cubicBezTo>
                <a:cubicBezTo>
                  <a:pt x="324" y="61"/>
                  <a:pt x="334" y="57"/>
                  <a:pt x="346" y="57"/>
                </a:cubicBezTo>
                <a:cubicBezTo>
                  <a:pt x="358" y="57"/>
                  <a:pt x="368" y="61"/>
                  <a:pt x="376" y="69"/>
                </a:cubicBezTo>
                <a:cubicBezTo>
                  <a:pt x="384" y="78"/>
                  <a:pt x="389" y="88"/>
                  <a:pt x="389" y="99"/>
                </a:cubicBezTo>
                <a:cubicBezTo>
                  <a:pt x="389" y="111"/>
                  <a:pt x="384" y="121"/>
                  <a:pt x="376" y="129"/>
                </a:cubicBezTo>
                <a:cubicBezTo>
                  <a:pt x="368" y="138"/>
                  <a:pt x="358" y="142"/>
                  <a:pt x="346" y="142"/>
                </a:cubicBezTo>
                <a:cubicBezTo>
                  <a:pt x="334" y="142"/>
                  <a:pt x="324" y="138"/>
                  <a:pt x="316" y="129"/>
                </a:cubicBezTo>
                <a:cubicBezTo>
                  <a:pt x="315" y="128"/>
                  <a:pt x="314" y="127"/>
                  <a:pt x="313" y="126"/>
                </a:cubicBezTo>
                <a:cubicBezTo>
                  <a:pt x="313" y="175"/>
                  <a:pt x="313" y="175"/>
                  <a:pt x="313" y="175"/>
                </a:cubicBezTo>
                <a:cubicBezTo>
                  <a:pt x="275" y="176"/>
                  <a:pt x="243" y="189"/>
                  <a:pt x="216" y="216"/>
                </a:cubicBezTo>
                <a:cubicBezTo>
                  <a:pt x="189" y="243"/>
                  <a:pt x="176" y="276"/>
                  <a:pt x="176" y="315"/>
                </a:cubicBezTo>
                <a:cubicBezTo>
                  <a:pt x="176" y="316"/>
                  <a:pt x="176" y="317"/>
                  <a:pt x="176" y="319"/>
                </a:cubicBezTo>
                <a:cubicBezTo>
                  <a:pt x="123" y="319"/>
                  <a:pt x="123" y="319"/>
                  <a:pt x="123" y="319"/>
                </a:cubicBezTo>
                <a:cubicBezTo>
                  <a:pt x="125" y="317"/>
                  <a:pt x="126" y="316"/>
                  <a:pt x="128" y="315"/>
                </a:cubicBezTo>
                <a:cubicBezTo>
                  <a:pt x="136" y="306"/>
                  <a:pt x="140" y="296"/>
                  <a:pt x="140" y="285"/>
                </a:cubicBezTo>
                <a:cubicBezTo>
                  <a:pt x="140" y="273"/>
                  <a:pt x="136" y="263"/>
                  <a:pt x="128" y="254"/>
                </a:cubicBezTo>
                <a:cubicBezTo>
                  <a:pt x="119" y="246"/>
                  <a:pt x="109" y="242"/>
                  <a:pt x="98" y="242"/>
                </a:cubicBezTo>
                <a:cubicBezTo>
                  <a:pt x="86" y="242"/>
                  <a:pt x="76" y="246"/>
                  <a:pt x="68" y="254"/>
                </a:cubicBezTo>
                <a:cubicBezTo>
                  <a:pt x="59" y="263"/>
                  <a:pt x="55" y="273"/>
                  <a:pt x="55" y="285"/>
                </a:cubicBezTo>
                <a:cubicBezTo>
                  <a:pt x="55" y="296"/>
                  <a:pt x="59" y="306"/>
                  <a:pt x="68" y="315"/>
                </a:cubicBezTo>
                <a:cubicBezTo>
                  <a:pt x="69" y="316"/>
                  <a:pt x="71" y="317"/>
                  <a:pt x="72" y="319"/>
                </a:cubicBezTo>
                <a:cubicBezTo>
                  <a:pt x="0" y="319"/>
                  <a:pt x="0" y="319"/>
                  <a:pt x="0" y="319"/>
                </a:cubicBezTo>
                <a:cubicBezTo>
                  <a:pt x="0" y="317"/>
                  <a:pt x="0" y="316"/>
                  <a:pt x="0" y="315"/>
                </a:cubicBezTo>
                <a:cubicBezTo>
                  <a:pt x="0" y="228"/>
                  <a:pt x="31" y="154"/>
                  <a:pt x="92" y="92"/>
                </a:cubicBezTo>
                <a:cubicBezTo>
                  <a:pt x="145" y="40"/>
                  <a:pt x="207" y="10"/>
                  <a:pt x="279" y="2"/>
                </a:cubicBezTo>
                <a:cubicBezTo>
                  <a:pt x="290" y="1"/>
                  <a:pt x="301" y="0"/>
                  <a:pt x="313" y="0"/>
                </a:cubicBezTo>
                <a:close/>
              </a:path>
            </a:pathLst>
          </a:custGeom>
          <a:solidFill>
            <a:schemeClr val="accent1"/>
          </a:solidFill>
          <a:ln w="19050">
            <a:solidFill>
              <a:schemeClr val="bg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42" name="Freeform 20">
            <a:extLst>
              <a:ext uri="{FF2B5EF4-FFF2-40B4-BE49-F238E27FC236}">
                <a16:creationId xmlns:a16="http://schemas.microsoft.com/office/drawing/2014/main" id="{AF07BE51-7088-55D4-92BD-1F54CC24DEC7}"/>
              </a:ext>
            </a:extLst>
          </p:cNvPr>
          <p:cNvSpPr>
            <a:spLocks/>
          </p:cNvSpPr>
          <p:nvPr/>
        </p:nvSpPr>
        <p:spPr bwMode="auto">
          <a:xfrm>
            <a:off x="6086120" y="1542414"/>
            <a:ext cx="2043467" cy="2548688"/>
          </a:xfrm>
          <a:custGeom>
            <a:avLst/>
            <a:gdLst/>
            <a:ahLst/>
            <a:cxnLst>
              <a:cxn ang="0">
                <a:pos x="316" y="319"/>
              </a:cxn>
              <a:cxn ang="0">
                <a:pos x="246" y="319"/>
              </a:cxn>
              <a:cxn ang="0">
                <a:pos x="249" y="322"/>
              </a:cxn>
              <a:cxn ang="0">
                <a:pos x="262" y="352"/>
              </a:cxn>
              <a:cxn ang="0">
                <a:pos x="249" y="382"/>
              </a:cxn>
              <a:cxn ang="0">
                <a:pos x="219" y="394"/>
              </a:cxn>
              <a:cxn ang="0">
                <a:pos x="189" y="382"/>
              </a:cxn>
              <a:cxn ang="0">
                <a:pos x="177" y="352"/>
              </a:cxn>
              <a:cxn ang="0">
                <a:pos x="189" y="322"/>
              </a:cxn>
              <a:cxn ang="0">
                <a:pos x="193" y="319"/>
              </a:cxn>
              <a:cxn ang="0">
                <a:pos x="141" y="319"/>
              </a:cxn>
              <a:cxn ang="0">
                <a:pos x="141" y="315"/>
              </a:cxn>
              <a:cxn ang="0">
                <a:pos x="100" y="216"/>
              </a:cxn>
              <a:cxn ang="0">
                <a:pos x="2" y="175"/>
              </a:cxn>
              <a:cxn ang="0">
                <a:pos x="0" y="175"/>
              </a:cxn>
              <a:cxn ang="0">
                <a:pos x="0" y="126"/>
              </a:cxn>
              <a:cxn ang="0">
                <a:pos x="3" y="129"/>
              </a:cxn>
              <a:cxn ang="0">
                <a:pos x="33" y="142"/>
              </a:cxn>
              <a:cxn ang="0">
                <a:pos x="63" y="129"/>
              </a:cxn>
              <a:cxn ang="0">
                <a:pos x="76" y="99"/>
              </a:cxn>
              <a:cxn ang="0">
                <a:pos x="63" y="69"/>
              </a:cxn>
              <a:cxn ang="0">
                <a:pos x="33" y="57"/>
              </a:cxn>
              <a:cxn ang="0">
                <a:pos x="3" y="69"/>
              </a:cxn>
              <a:cxn ang="0">
                <a:pos x="0" y="73"/>
              </a:cxn>
              <a:cxn ang="0">
                <a:pos x="0" y="0"/>
              </a:cxn>
              <a:cxn ang="0">
                <a:pos x="2" y="0"/>
              </a:cxn>
              <a:cxn ang="0">
                <a:pos x="38" y="2"/>
              </a:cxn>
              <a:cxn ang="0">
                <a:pos x="224" y="92"/>
              </a:cxn>
              <a:cxn ang="0">
                <a:pos x="316" y="315"/>
              </a:cxn>
              <a:cxn ang="0">
                <a:pos x="316" y="319"/>
              </a:cxn>
            </a:cxnLst>
            <a:rect l="0" t="0" r="r" b="b"/>
            <a:pathLst>
              <a:path w="316" h="394">
                <a:moveTo>
                  <a:pt x="316" y="319"/>
                </a:moveTo>
                <a:cubicBezTo>
                  <a:pt x="246" y="319"/>
                  <a:pt x="246" y="319"/>
                  <a:pt x="246" y="319"/>
                </a:cubicBezTo>
                <a:cubicBezTo>
                  <a:pt x="247" y="320"/>
                  <a:pt x="248" y="321"/>
                  <a:pt x="249" y="322"/>
                </a:cubicBezTo>
                <a:cubicBezTo>
                  <a:pt x="258" y="330"/>
                  <a:pt x="262" y="340"/>
                  <a:pt x="262" y="352"/>
                </a:cubicBezTo>
                <a:cubicBezTo>
                  <a:pt x="262" y="364"/>
                  <a:pt x="258" y="374"/>
                  <a:pt x="249" y="382"/>
                </a:cubicBezTo>
                <a:cubicBezTo>
                  <a:pt x="241" y="390"/>
                  <a:pt x="231" y="394"/>
                  <a:pt x="219" y="394"/>
                </a:cubicBezTo>
                <a:cubicBezTo>
                  <a:pt x="208" y="394"/>
                  <a:pt x="198" y="390"/>
                  <a:pt x="189" y="382"/>
                </a:cubicBezTo>
                <a:cubicBezTo>
                  <a:pt x="181" y="374"/>
                  <a:pt x="177" y="364"/>
                  <a:pt x="177" y="352"/>
                </a:cubicBezTo>
                <a:cubicBezTo>
                  <a:pt x="177" y="340"/>
                  <a:pt x="181" y="330"/>
                  <a:pt x="189" y="322"/>
                </a:cubicBezTo>
                <a:cubicBezTo>
                  <a:pt x="190" y="321"/>
                  <a:pt x="191" y="320"/>
                  <a:pt x="193" y="319"/>
                </a:cubicBezTo>
                <a:cubicBezTo>
                  <a:pt x="141" y="319"/>
                  <a:pt x="141" y="319"/>
                  <a:pt x="141" y="319"/>
                </a:cubicBezTo>
                <a:cubicBezTo>
                  <a:pt x="141" y="317"/>
                  <a:pt x="141" y="316"/>
                  <a:pt x="141" y="315"/>
                </a:cubicBezTo>
                <a:cubicBezTo>
                  <a:pt x="141" y="276"/>
                  <a:pt x="127" y="243"/>
                  <a:pt x="100" y="216"/>
                </a:cubicBezTo>
                <a:cubicBezTo>
                  <a:pt x="73" y="189"/>
                  <a:pt x="40" y="175"/>
                  <a:pt x="2" y="175"/>
                </a:cubicBezTo>
                <a:cubicBezTo>
                  <a:pt x="1" y="175"/>
                  <a:pt x="1" y="175"/>
                  <a:pt x="0" y="175"/>
                </a:cubicBezTo>
                <a:cubicBezTo>
                  <a:pt x="0" y="126"/>
                  <a:pt x="0" y="126"/>
                  <a:pt x="0" y="126"/>
                </a:cubicBezTo>
                <a:cubicBezTo>
                  <a:pt x="1" y="127"/>
                  <a:pt x="2" y="128"/>
                  <a:pt x="3" y="129"/>
                </a:cubicBezTo>
                <a:cubicBezTo>
                  <a:pt x="11" y="138"/>
                  <a:pt x="21" y="142"/>
                  <a:pt x="33" y="142"/>
                </a:cubicBezTo>
                <a:cubicBezTo>
                  <a:pt x="45" y="142"/>
                  <a:pt x="55" y="138"/>
                  <a:pt x="63" y="129"/>
                </a:cubicBezTo>
                <a:cubicBezTo>
                  <a:pt x="71" y="121"/>
                  <a:pt x="76" y="111"/>
                  <a:pt x="76" y="99"/>
                </a:cubicBezTo>
                <a:cubicBezTo>
                  <a:pt x="76" y="88"/>
                  <a:pt x="71" y="78"/>
                  <a:pt x="63" y="69"/>
                </a:cubicBezTo>
                <a:cubicBezTo>
                  <a:pt x="55" y="61"/>
                  <a:pt x="45" y="57"/>
                  <a:pt x="33" y="57"/>
                </a:cubicBezTo>
                <a:cubicBezTo>
                  <a:pt x="21" y="57"/>
                  <a:pt x="11" y="61"/>
                  <a:pt x="3" y="69"/>
                </a:cubicBezTo>
                <a:cubicBezTo>
                  <a:pt x="2" y="70"/>
                  <a:pt x="1" y="71"/>
                  <a:pt x="0" y="73"/>
                </a:cubicBezTo>
                <a:cubicBezTo>
                  <a:pt x="0" y="0"/>
                  <a:pt x="0" y="0"/>
                  <a:pt x="0" y="0"/>
                </a:cubicBezTo>
                <a:cubicBezTo>
                  <a:pt x="1" y="0"/>
                  <a:pt x="1" y="0"/>
                  <a:pt x="2" y="0"/>
                </a:cubicBezTo>
                <a:cubicBezTo>
                  <a:pt x="14" y="0"/>
                  <a:pt x="26" y="1"/>
                  <a:pt x="38" y="2"/>
                </a:cubicBezTo>
                <a:cubicBezTo>
                  <a:pt x="109" y="10"/>
                  <a:pt x="171" y="40"/>
                  <a:pt x="224" y="92"/>
                </a:cubicBezTo>
                <a:cubicBezTo>
                  <a:pt x="285" y="154"/>
                  <a:pt x="316" y="228"/>
                  <a:pt x="316" y="315"/>
                </a:cubicBezTo>
                <a:cubicBezTo>
                  <a:pt x="316" y="316"/>
                  <a:pt x="316" y="317"/>
                  <a:pt x="316" y="319"/>
                </a:cubicBezTo>
                <a:close/>
              </a:path>
            </a:pathLst>
          </a:custGeom>
          <a:solidFill>
            <a:schemeClr val="accent2"/>
          </a:solidFill>
          <a:ln w="19050">
            <a:solidFill>
              <a:schemeClr val="bg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21">
            <a:extLst>
              <a:ext uri="{FF2B5EF4-FFF2-40B4-BE49-F238E27FC236}">
                <a16:creationId xmlns:a16="http://schemas.microsoft.com/office/drawing/2014/main" id="{A47860A9-AD00-786E-FA88-A3C8F7DD281A}"/>
              </a:ext>
            </a:extLst>
          </p:cNvPr>
          <p:cNvSpPr>
            <a:spLocks/>
          </p:cNvSpPr>
          <p:nvPr/>
        </p:nvSpPr>
        <p:spPr bwMode="auto">
          <a:xfrm>
            <a:off x="5620414" y="3605637"/>
            <a:ext cx="2509175" cy="2006775"/>
          </a:xfrm>
          <a:custGeom>
            <a:avLst/>
            <a:gdLst/>
            <a:ahLst/>
            <a:cxnLst>
              <a:cxn ang="0">
                <a:pos x="72" y="135"/>
              </a:cxn>
              <a:cxn ang="0">
                <a:pos x="74" y="135"/>
              </a:cxn>
              <a:cxn ang="0">
                <a:pos x="172" y="94"/>
              </a:cxn>
              <a:cxn ang="0">
                <a:pos x="213" y="0"/>
              </a:cxn>
              <a:cxn ang="0">
                <a:pos x="265" y="0"/>
              </a:cxn>
              <a:cxn ang="0">
                <a:pos x="261" y="3"/>
              </a:cxn>
              <a:cxn ang="0">
                <a:pos x="249" y="33"/>
              </a:cxn>
              <a:cxn ang="0">
                <a:pos x="261" y="63"/>
              </a:cxn>
              <a:cxn ang="0">
                <a:pos x="291" y="75"/>
              </a:cxn>
              <a:cxn ang="0">
                <a:pos x="321" y="63"/>
              </a:cxn>
              <a:cxn ang="0">
                <a:pos x="334" y="33"/>
              </a:cxn>
              <a:cxn ang="0">
                <a:pos x="321" y="3"/>
              </a:cxn>
              <a:cxn ang="0">
                <a:pos x="318" y="0"/>
              </a:cxn>
              <a:cxn ang="0">
                <a:pos x="388" y="0"/>
              </a:cxn>
              <a:cxn ang="0">
                <a:pos x="296" y="218"/>
              </a:cxn>
              <a:cxn ang="0">
                <a:pos x="74" y="310"/>
              </a:cxn>
              <a:cxn ang="0">
                <a:pos x="72" y="310"/>
              </a:cxn>
              <a:cxn ang="0">
                <a:pos x="72" y="246"/>
              </a:cxn>
              <a:cxn ang="0">
                <a:pos x="43" y="258"/>
              </a:cxn>
              <a:cxn ang="0">
                <a:pos x="13" y="245"/>
              </a:cxn>
              <a:cxn ang="0">
                <a:pos x="0" y="215"/>
              </a:cxn>
              <a:cxn ang="0">
                <a:pos x="13" y="185"/>
              </a:cxn>
              <a:cxn ang="0">
                <a:pos x="43" y="172"/>
              </a:cxn>
              <a:cxn ang="0">
                <a:pos x="72" y="184"/>
              </a:cxn>
              <a:cxn ang="0">
                <a:pos x="72" y="135"/>
              </a:cxn>
            </a:cxnLst>
            <a:rect l="0" t="0" r="r" b="b"/>
            <a:pathLst>
              <a:path w="388" h="310">
                <a:moveTo>
                  <a:pt x="72" y="135"/>
                </a:moveTo>
                <a:cubicBezTo>
                  <a:pt x="73" y="135"/>
                  <a:pt x="73" y="135"/>
                  <a:pt x="74" y="135"/>
                </a:cubicBezTo>
                <a:cubicBezTo>
                  <a:pt x="112" y="135"/>
                  <a:pt x="145" y="121"/>
                  <a:pt x="172" y="94"/>
                </a:cubicBezTo>
                <a:cubicBezTo>
                  <a:pt x="198" y="68"/>
                  <a:pt x="212" y="36"/>
                  <a:pt x="213" y="0"/>
                </a:cubicBezTo>
                <a:cubicBezTo>
                  <a:pt x="265" y="0"/>
                  <a:pt x="265" y="0"/>
                  <a:pt x="265" y="0"/>
                </a:cubicBezTo>
                <a:cubicBezTo>
                  <a:pt x="263" y="1"/>
                  <a:pt x="262" y="2"/>
                  <a:pt x="261" y="3"/>
                </a:cubicBezTo>
                <a:cubicBezTo>
                  <a:pt x="253" y="11"/>
                  <a:pt x="249" y="21"/>
                  <a:pt x="249" y="33"/>
                </a:cubicBezTo>
                <a:cubicBezTo>
                  <a:pt x="249" y="45"/>
                  <a:pt x="253" y="55"/>
                  <a:pt x="261" y="63"/>
                </a:cubicBezTo>
                <a:cubicBezTo>
                  <a:pt x="270" y="71"/>
                  <a:pt x="280" y="75"/>
                  <a:pt x="291" y="75"/>
                </a:cubicBezTo>
                <a:cubicBezTo>
                  <a:pt x="303" y="75"/>
                  <a:pt x="313" y="71"/>
                  <a:pt x="321" y="63"/>
                </a:cubicBezTo>
                <a:cubicBezTo>
                  <a:pt x="330" y="55"/>
                  <a:pt x="334" y="45"/>
                  <a:pt x="334" y="33"/>
                </a:cubicBezTo>
                <a:cubicBezTo>
                  <a:pt x="334" y="21"/>
                  <a:pt x="330" y="11"/>
                  <a:pt x="321" y="3"/>
                </a:cubicBezTo>
                <a:cubicBezTo>
                  <a:pt x="320" y="2"/>
                  <a:pt x="319" y="1"/>
                  <a:pt x="318" y="0"/>
                </a:cubicBezTo>
                <a:cubicBezTo>
                  <a:pt x="388" y="0"/>
                  <a:pt x="388" y="0"/>
                  <a:pt x="388" y="0"/>
                </a:cubicBezTo>
                <a:cubicBezTo>
                  <a:pt x="387" y="85"/>
                  <a:pt x="357" y="158"/>
                  <a:pt x="296" y="218"/>
                </a:cubicBezTo>
                <a:cubicBezTo>
                  <a:pt x="235" y="279"/>
                  <a:pt x="161" y="310"/>
                  <a:pt x="74" y="310"/>
                </a:cubicBezTo>
                <a:cubicBezTo>
                  <a:pt x="73" y="310"/>
                  <a:pt x="73" y="310"/>
                  <a:pt x="72" y="310"/>
                </a:cubicBezTo>
                <a:cubicBezTo>
                  <a:pt x="72" y="246"/>
                  <a:pt x="72" y="246"/>
                  <a:pt x="72" y="246"/>
                </a:cubicBezTo>
                <a:cubicBezTo>
                  <a:pt x="64" y="254"/>
                  <a:pt x="54" y="258"/>
                  <a:pt x="43" y="258"/>
                </a:cubicBezTo>
                <a:cubicBezTo>
                  <a:pt x="31" y="258"/>
                  <a:pt x="21" y="253"/>
                  <a:pt x="13" y="245"/>
                </a:cubicBezTo>
                <a:cubicBezTo>
                  <a:pt x="5" y="237"/>
                  <a:pt x="0" y="227"/>
                  <a:pt x="0" y="215"/>
                </a:cubicBezTo>
                <a:cubicBezTo>
                  <a:pt x="0" y="203"/>
                  <a:pt x="5" y="193"/>
                  <a:pt x="13" y="185"/>
                </a:cubicBezTo>
                <a:cubicBezTo>
                  <a:pt x="21" y="177"/>
                  <a:pt x="31" y="172"/>
                  <a:pt x="43" y="172"/>
                </a:cubicBezTo>
                <a:cubicBezTo>
                  <a:pt x="54" y="172"/>
                  <a:pt x="64" y="176"/>
                  <a:pt x="72" y="184"/>
                </a:cubicBezTo>
                <a:lnTo>
                  <a:pt x="72" y="135"/>
                </a:lnTo>
                <a:close/>
              </a:path>
            </a:pathLst>
          </a:custGeom>
          <a:solidFill>
            <a:schemeClr val="accent3"/>
          </a:solidFill>
          <a:ln w="19050">
            <a:solidFill>
              <a:schemeClr val="bg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44" name="Freeform 23">
            <a:extLst>
              <a:ext uri="{FF2B5EF4-FFF2-40B4-BE49-F238E27FC236}">
                <a16:creationId xmlns:a16="http://schemas.microsoft.com/office/drawing/2014/main" id="{0557FFD1-56B6-AC35-95F6-904EC5969CE9}"/>
              </a:ext>
            </a:extLst>
          </p:cNvPr>
          <p:cNvSpPr>
            <a:spLocks/>
          </p:cNvSpPr>
          <p:nvPr/>
        </p:nvSpPr>
        <p:spPr bwMode="auto">
          <a:xfrm>
            <a:off x="4062412" y="3108883"/>
            <a:ext cx="2023709" cy="2503529"/>
          </a:xfrm>
          <a:custGeom>
            <a:avLst/>
            <a:gdLst/>
            <a:ahLst/>
            <a:cxnLst>
              <a:cxn ang="0">
                <a:pos x="176" y="77"/>
              </a:cxn>
              <a:cxn ang="0">
                <a:pos x="216" y="171"/>
              </a:cxn>
              <a:cxn ang="0">
                <a:pos x="313" y="212"/>
              </a:cxn>
              <a:cxn ang="0">
                <a:pos x="313" y="261"/>
              </a:cxn>
              <a:cxn ang="0">
                <a:pos x="284" y="249"/>
              </a:cxn>
              <a:cxn ang="0">
                <a:pos x="254" y="262"/>
              </a:cxn>
              <a:cxn ang="0">
                <a:pos x="241" y="292"/>
              </a:cxn>
              <a:cxn ang="0">
                <a:pos x="254" y="322"/>
              </a:cxn>
              <a:cxn ang="0">
                <a:pos x="284" y="335"/>
              </a:cxn>
              <a:cxn ang="0">
                <a:pos x="313" y="323"/>
              </a:cxn>
              <a:cxn ang="0">
                <a:pos x="313" y="387"/>
              </a:cxn>
              <a:cxn ang="0">
                <a:pos x="92" y="295"/>
              </a:cxn>
              <a:cxn ang="0">
                <a:pos x="0" y="77"/>
              </a:cxn>
              <a:cxn ang="0">
                <a:pos x="72" y="77"/>
              </a:cxn>
              <a:cxn ang="0">
                <a:pos x="68" y="73"/>
              </a:cxn>
              <a:cxn ang="0">
                <a:pos x="55" y="43"/>
              </a:cxn>
              <a:cxn ang="0">
                <a:pos x="68" y="12"/>
              </a:cxn>
              <a:cxn ang="0">
                <a:pos x="98" y="0"/>
              </a:cxn>
              <a:cxn ang="0">
                <a:pos x="128" y="12"/>
              </a:cxn>
              <a:cxn ang="0">
                <a:pos x="140" y="43"/>
              </a:cxn>
              <a:cxn ang="0">
                <a:pos x="128" y="73"/>
              </a:cxn>
              <a:cxn ang="0">
                <a:pos x="123" y="77"/>
              </a:cxn>
              <a:cxn ang="0">
                <a:pos x="176" y="77"/>
              </a:cxn>
            </a:cxnLst>
            <a:rect l="0" t="0" r="r" b="b"/>
            <a:pathLst>
              <a:path w="313" h="387">
                <a:moveTo>
                  <a:pt x="176" y="77"/>
                </a:moveTo>
                <a:cubicBezTo>
                  <a:pt x="177" y="113"/>
                  <a:pt x="190" y="145"/>
                  <a:pt x="216" y="171"/>
                </a:cubicBezTo>
                <a:cubicBezTo>
                  <a:pt x="243" y="198"/>
                  <a:pt x="275" y="212"/>
                  <a:pt x="313" y="212"/>
                </a:cubicBezTo>
                <a:cubicBezTo>
                  <a:pt x="313" y="261"/>
                  <a:pt x="313" y="261"/>
                  <a:pt x="313" y="261"/>
                </a:cubicBezTo>
                <a:cubicBezTo>
                  <a:pt x="305" y="253"/>
                  <a:pt x="295" y="249"/>
                  <a:pt x="284" y="249"/>
                </a:cubicBezTo>
                <a:cubicBezTo>
                  <a:pt x="272" y="249"/>
                  <a:pt x="262" y="254"/>
                  <a:pt x="254" y="262"/>
                </a:cubicBezTo>
                <a:cubicBezTo>
                  <a:pt x="246" y="270"/>
                  <a:pt x="241" y="280"/>
                  <a:pt x="241" y="292"/>
                </a:cubicBezTo>
                <a:cubicBezTo>
                  <a:pt x="241" y="304"/>
                  <a:pt x="246" y="314"/>
                  <a:pt x="254" y="322"/>
                </a:cubicBezTo>
                <a:cubicBezTo>
                  <a:pt x="262" y="330"/>
                  <a:pt x="272" y="335"/>
                  <a:pt x="284" y="335"/>
                </a:cubicBezTo>
                <a:cubicBezTo>
                  <a:pt x="295" y="335"/>
                  <a:pt x="305" y="331"/>
                  <a:pt x="313" y="323"/>
                </a:cubicBezTo>
                <a:cubicBezTo>
                  <a:pt x="313" y="387"/>
                  <a:pt x="313" y="387"/>
                  <a:pt x="313" y="387"/>
                </a:cubicBezTo>
                <a:cubicBezTo>
                  <a:pt x="227" y="387"/>
                  <a:pt x="153" y="356"/>
                  <a:pt x="92" y="295"/>
                </a:cubicBezTo>
                <a:cubicBezTo>
                  <a:pt x="32" y="235"/>
                  <a:pt x="1" y="162"/>
                  <a:pt x="0" y="77"/>
                </a:cubicBezTo>
                <a:cubicBezTo>
                  <a:pt x="72" y="77"/>
                  <a:pt x="72" y="77"/>
                  <a:pt x="72" y="77"/>
                </a:cubicBezTo>
                <a:cubicBezTo>
                  <a:pt x="71" y="75"/>
                  <a:pt x="69" y="74"/>
                  <a:pt x="68" y="73"/>
                </a:cubicBezTo>
                <a:cubicBezTo>
                  <a:pt x="59" y="64"/>
                  <a:pt x="55" y="54"/>
                  <a:pt x="55" y="43"/>
                </a:cubicBezTo>
                <a:cubicBezTo>
                  <a:pt x="55" y="31"/>
                  <a:pt x="59" y="21"/>
                  <a:pt x="68" y="12"/>
                </a:cubicBezTo>
                <a:cubicBezTo>
                  <a:pt x="76" y="4"/>
                  <a:pt x="86" y="0"/>
                  <a:pt x="98" y="0"/>
                </a:cubicBezTo>
                <a:cubicBezTo>
                  <a:pt x="109" y="0"/>
                  <a:pt x="119" y="4"/>
                  <a:pt x="128" y="12"/>
                </a:cubicBezTo>
                <a:cubicBezTo>
                  <a:pt x="136" y="21"/>
                  <a:pt x="140" y="31"/>
                  <a:pt x="140" y="43"/>
                </a:cubicBezTo>
                <a:cubicBezTo>
                  <a:pt x="140" y="54"/>
                  <a:pt x="136" y="64"/>
                  <a:pt x="128" y="73"/>
                </a:cubicBezTo>
                <a:cubicBezTo>
                  <a:pt x="126" y="74"/>
                  <a:pt x="125" y="75"/>
                  <a:pt x="123" y="77"/>
                </a:cubicBezTo>
                <a:lnTo>
                  <a:pt x="176" y="77"/>
                </a:lnTo>
                <a:close/>
              </a:path>
            </a:pathLst>
          </a:custGeom>
          <a:solidFill>
            <a:schemeClr val="accent4"/>
          </a:solidFill>
          <a:ln w="19050">
            <a:solidFill>
              <a:schemeClr val="bg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60" name="TextBox 59">
            <a:extLst>
              <a:ext uri="{FF2B5EF4-FFF2-40B4-BE49-F238E27FC236}">
                <a16:creationId xmlns:a16="http://schemas.microsoft.com/office/drawing/2014/main" id="{85709C17-9075-778E-AF8E-ED1D6D808AFF}"/>
              </a:ext>
            </a:extLst>
          </p:cNvPr>
          <p:cNvSpPr txBox="1"/>
          <p:nvPr/>
        </p:nvSpPr>
        <p:spPr>
          <a:xfrm>
            <a:off x="5364021" y="3170193"/>
            <a:ext cx="1468565" cy="865832"/>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Black"/>
                <a:ea typeface="+mn-ea"/>
                <a:cs typeface="+mn-cs"/>
              </a:rPr>
              <a:t>Elevate Building Performance</a:t>
            </a:r>
          </a:p>
        </p:txBody>
      </p:sp>
      <p:pic>
        <p:nvPicPr>
          <p:cNvPr id="61" name="Graphic 60" descr="Server outline">
            <a:extLst>
              <a:ext uri="{FF2B5EF4-FFF2-40B4-BE49-F238E27FC236}">
                <a16:creationId xmlns:a16="http://schemas.microsoft.com/office/drawing/2014/main" id="{C60CBB71-E56A-5CCB-09BD-A533B74384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0865" y="2006224"/>
            <a:ext cx="890071" cy="890071"/>
          </a:xfrm>
          <a:prstGeom prst="rect">
            <a:avLst/>
          </a:prstGeom>
        </p:spPr>
      </p:pic>
      <p:pic>
        <p:nvPicPr>
          <p:cNvPr id="62" name="Graphic 61" descr="Internet outline">
            <a:extLst>
              <a:ext uri="{FF2B5EF4-FFF2-40B4-BE49-F238E27FC236}">
                <a16:creationId xmlns:a16="http://schemas.microsoft.com/office/drawing/2014/main" id="{CC6000B6-9A7D-EA2C-A728-DAD9264A4D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61948" y="2000431"/>
            <a:ext cx="895864" cy="895864"/>
          </a:xfrm>
          <a:prstGeom prst="rect">
            <a:avLst/>
          </a:prstGeom>
        </p:spPr>
      </p:pic>
      <p:pic>
        <p:nvPicPr>
          <p:cNvPr id="63" name="Graphic 62" descr="Checklist with solid fill">
            <a:extLst>
              <a:ext uri="{FF2B5EF4-FFF2-40B4-BE49-F238E27FC236}">
                <a16:creationId xmlns:a16="http://schemas.microsoft.com/office/drawing/2014/main" id="{00F875A3-F4D0-94FA-A119-C1AC1C97C8B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25390" y="4301594"/>
            <a:ext cx="764926" cy="764926"/>
          </a:xfrm>
          <a:prstGeom prst="rect">
            <a:avLst/>
          </a:prstGeom>
        </p:spPr>
      </p:pic>
      <p:pic>
        <p:nvPicPr>
          <p:cNvPr id="64" name="Graphic 63" descr="Open hand with plant outline">
            <a:extLst>
              <a:ext uri="{FF2B5EF4-FFF2-40B4-BE49-F238E27FC236}">
                <a16:creationId xmlns:a16="http://schemas.microsoft.com/office/drawing/2014/main" id="{5157D851-A678-B010-AEB0-8656C7A297E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484348" y="4116258"/>
            <a:ext cx="859263" cy="859263"/>
          </a:xfrm>
          <a:prstGeom prst="rect">
            <a:avLst/>
          </a:prstGeom>
        </p:spPr>
      </p:pic>
      <p:sp>
        <p:nvSpPr>
          <p:cNvPr id="65" name="Inhaltsplatzhalter 4">
            <a:extLst>
              <a:ext uri="{FF2B5EF4-FFF2-40B4-BE49-F238E27FC236}">
                <a16:creationId xmlns:a16="http://schemas.microsoft.com/office/drawing/2014/main" id="{98E07C87-4804-0DC6-A25A-A368BB58E07A}"/>
              </a:ext>
            </a:extLst>
          </p:cNvPr>
          <p:cNvSpPr txBox="1">
            <a:spLocks/>
          </p:cNvSpPr>
          <p:nvPr/>
        </p:nvSpPr>
        <p:spPr>
          <a:xfrm>
            <a:off x="308758" y="1548785"/>
            <a:ext cx="3467249" cy="195457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600" b="0" i="0" u="none" strike="noStrike" kern="1200" cap="none" spc="0" normalizeH="0" baseline="0" noProof="0">
                <a:ln>
                  <a:noFill/>
                </a:ln>
                <a:solidFill>
                  <a:prstClr val="black"/>
                </a:solidFill>
                <a:effectLst/>
                <a:uLnTx/>
                <a:uFillTx/>
                <a:latin typeface="Arial Black"/>
                <a:ea typeface="+mn-ea"/>
                <a:cs typeface="+mn-cs"/>
              </a:rPr>
              <a:t>UPTIME</a:t>
            </a:r>
            <a:br>
              <a:rPr kumimoji="0" lang="en-US" sz="2300" b="0" i="0" u="none" strike="noStrike" kern="1200" cap="none" spc="0" normalizeH="0" baseline="0" noProof="0">
                <a:ln>
                  <a:noFill/>
                </a:ln>
                <a:solidFill>
                  <a:prstClr val="black"/>
                </a:solidFill>
                <a:effectLst/>
                <a:uLnTx/>
                <a:uFillTx/>
                <a:latin typeface="Arial Black"/>
                <a:ea typeface="+mn-ea"/>
                <a:cs typeface="+mn-cs"/>
              </a:rPr>
            </a:br>
            <a:r>
              <a:rPr kumimoji="0" lang="en-US" sz="1200" b="0" i="0" u="none" strike="noStrike" kern="1200" cap="none" spc="0" normalizeH="0" baseline="0" noProof="0">
                <a:ln>
                  <a:noFill/>
                </a:ln>
                <a:solidFill>
                  <a:prstClr val="black"/>
                </a:solidFill>
                <a:effectLst/>
                <a:uLnTx/>
                <a:uFillTx/>
                <a:latin typeface="Arial"/>
                <a:ea typeface="+mn-ea"/>
                <a:cs typeface="Arial"/>
              </a:rPr>
              <a:t>Early identification of issues &gt;  faster resolution</a:t>
            </a:r>
          </a:p>
          <a:p>
            <a:pPr marL="0" marR="0" lvl="0" indent="0" algn="r"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Reduction in downtime</a:t>
            </a: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r"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Reduction in truck rolls and unplanned expenditure</a:t>
            </a: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r"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Easy access to Upgrades</a:t>
            </a: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r"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66" name="Inhaltsplatzhalter 4">
            <a:extLst>
              <a:ext uri="{FF2B5EF4-FFF2-40B4-BE49-F238E27FC236}">
                <a16:creationId xmlns:a16="http://schemas.microsoft.com/office/drawing/2014/main" id="{D7CE6AE6-1768-70BE-A5D2-524F7545E404}"/>
              </a:ext>
            </a:extLst>
          </p:cNvPr>
          <p:cNvSpPr txBox="1">
            <a:spLocks/>
          </p:cNvSpPr>
          <p:nvPr/>
        </p:nvSpPr>
        <p:spPr>
          <a:xfrm>
            <a:off x="308758" y="4039794"/>
            <a:ext cx="3485408" cy="1604222"/>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black"/>
                </a:solidFill>
                <a:effectLst/>
                <a:uLnTx/>
                <a:uFillTx/>
                <a:latin typeface="Arial Black"/>
                <a:ea typeface="+mn-ea"/>
                <a:cs typeface="+mn-cs"/>
              </a:rPr>
              <a:t>ENERGY &amp; SUSTAINABILITY</a:t>
            </a:r>
            <a:br>
              <a:rPr kumimoji="0" lang="en-US" sz="1600" b="1" i="0" u="none" strike="noStrike" kern="1200" cap="none" spc="0" normalizeH="0" baseline="0" noProof="0">
                <a:ln>
                  <a:noFill/>
                </a:ln>
                <a:solidFill>
                  <a:prstClr val="black"/>
                </a:solidFill>
                <a:effectLst/>
                <a:uLnTx/>
                <a:uFillTx/>
                <a:latin typeface="Arial Black"/>
                <a:ea typeface="+mn-ea"/>
                <a:cs typeface="+mn-cs"/>
              </a:rPr>
            </a:br>
            <a:r>
              <a:rPr kumimoji="0" lang="en-US" sz="1200" b="0" i="0" u="none" strike="noStrike" kern="1200" cap="none" spc="0" normalizeH="0" baseline="0" noProof="0">
                <a:ln>
                  <a:noFill/>
                </a:ln>
                <a:solidFill>
                  <a:prstClr val="black"/>
                </a:solidFill>
                <a:effectLst/>
                <a:uLnTx/>
                <a:uFillTx/>
                <a:latin typeface="Arial"/>
                <a:ea typeface="+mn-ea"/>
                <a:cs typeface="+mn-cs"/>
              </a:rPr>
              <a:t>Monitoring of energy intensive assets</a:t>
            </a: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r"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Pre-packaged &amp; flexibility reporting </a:t>
            </a: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r"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Optimization for efficient daily operations </a:t>
            </a: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r"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 </a:t>
            </a:r>
            <a:endParaRPr kumimoji="0" lang="en-US" sz="1000" b="0" i="0" u="none" strike="noStrike" kern="1200" cap="none" spc="0" normalizeH="0" baseline="0" noProof="0">
              <a:ln>
                <a:noFill/>
              </a:ln>
              <a:solidFill>
                <a:prstClr val="black"/>
              </a:solidFill>
              <a:effectLst/>
              <a:uLnTx/>
              <a:uFillTx/>
              <a:latin typeface="Arial"/>
              <a:ea typeface="+mn-ea"/>
              <a:cs typeface="Arial"/>
            </a:endParaRPr>
          </a:p>
        </p:txBody>
      </p:sp>
      <p:sp>
        <p:nvSpPr>
          <p:cNvPr id="67" name="Inhaltsplatzhalter 4">
            <a:extLst>
              <a:ext uri="{FF2B5EF4-FFF2-40B4-BE49-F238E27FC236}">
                <a16:creationId xmlns:a16="http://schemas.microsoft.com/office/drawing/2014/main" id="{44DCB184-57FB-8D35-59D1-4BD284C370F9}"/>
              </a:ext>
            </a:extLst>
          </p:cNvPr>
          <p:cNvSpPr txBox="1">
            <a:spLocks/>
          </p:cNvSpPr>
          <p:nvPr/>
        </p:nvSpPr>
        <p:spPr>
          <a:xfrm>
            <a:off x="8352528" y="1548785"/>
            <a:ext cx="3344171" cy="1409297"/>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black"/>
                </a:solidFill>
                <a:effectLst/>
                <a:uLnTx/>
                <a:uFillTx/>
                <a:latin typeface="Arial Black"/>
                <a:ea typeface="+mn-ea"/>
                <a:cs typeface="+mn-cs"/>
              </a:rPr>
              <a:t>RISK MITIGATION</a:t>
            </a:r>
            <a:br>
              <a:rPr kumimoji="0" lang="en-US" sz="1200" b="1" i="0" u="none" strike="noStrike" kern="1200" cap="none" spc="0" normalizeH="0" baseline="0" noProof="0">
                <a:ln>
                  <a:noFill/>
                </a:ln>
                <a:solidFill>
                  <a:prstClr val="black"/>
                </a:solidFill>
                <a:effectLst/>
                <a:uLnTx/>
                <a:uFillTx/>
                <a:latin typeface="Arial Black"/>
                <a:ea typeface="+mn-ea"/>
                <a:cs typeface="+mn-cs"/>
              </a:rPr>
            </a:br>
            <a:r>
              <a:rPr kumimoji="0" lang="en-US" sz="1200" b="0" i="0" u="none" strike="noStrike" kern="1200" cap="none" spc="0" normalizeH="0" baseline="0" noProof="0">
                <a:ln>
                  <a:noFill/>
                </a:ln>
                <a:solidFill>
                  <a:prstClr val="black"/>
                </a:solidFill>
                <a:effectLst/>
                <a:uLnTx/>
                <a:uFillTx/>
                <a:latin typeface="Arial"/>
                <a:ea typeface="+mn-ea"/>
                <a:cs typeface="Arial"/>
              </a:rPr>
              <a:t>Identify Obsolete assets early and plan for upgrades to avoid any risks </a:t>
            </a:r>
          </a:p>
          <a:p>
            <a:pPr marL="0" marR="0" lvl="0" indent="0" algn="l" defTabSz="914400" rtl="0" eaLnBrk="1" fontAlgn="auto" latinLnBrk="0" hangingPunct="1">
              <a:lnSpc>
                <a:spcPct val="130000"/>
              </a:lnSpc>
              <a:spcBef>
                <a:spcPts val="0"/>
              </a:spcBef>
              <a:spcAft>
                <a:spcPts val="1200"/>
              </a:spcAft>
              <a:buClrTx/>
              <a:buSzTx/>
              <a:buFont typeface="Wingdings" panose="05000000000000000000" pitchFamily="2" charset="2"/>
              <a:buNone/>
              <a:tabLst/>
              <a:defRPr/>
            </a:pPr>
            <a:r>
              <a:rPr lang="en-US" sz="1200">
                <a:solidFill>
                  <a:prstClr val="black"/>
                </a:solidFill>
                <a:latin typeface="Arial"/>
                <a:cs typeface="Arial"/>
              </a:rPr>
              <a:t>Avoid Cyber vulnerabilities with latest firmware and software</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68" name="Inhaltsplatzhalter 4">
            <a:extLst>
              <a:ext uri="{FF2B5EF4-FFF2-40B4-BE49-F238E27FC236}">
                <a16:creationId xmlns:a16="http://schemas.microsoft.com/office/drawing/2014/main" id="{23D43039-E410-2E1E-AA03-A6AAD1D2918A}"/>
              </a:ext>
            </a:extLst>
          </p:cNvPr>
          <p:cNvSpPr txBox="1">
            <a:spLocks/>
          </p:cNvSpPr>
          <p:nvPr/>
        </p:nvSpPr>
        <p:spPr>
          <a:xfrm>
            <a:off x="8352528" y="4039794"/>
            <a:ext cx="3530714" cy="1604222"/>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black"/>
                </a:solidFill>
                <a:effectLst/>
                <a:uLnTx/>
                <a:uFillTx/>
                <a:latin typeface="Arial Black"/>
                <a:ea typeface="+mn-ea"/>
                <a:cs typeface="+mn-cs"/>
              </a:rPr>
              <a:t>COMPLIANCE</a:t>
            </a:r>
            <a:br>
              <a:rPr kumimoji="0" lang="en-US" sz="1200" b="1" i="0" u="none" strike="noStrike" kern="1200" cap="none" spc="0" normalizeH="0" baseline="0" noProof="0">
                <a:ln>
                  <a:noFill/>
                </a:ln>
                <a:solidFill>
                  <a:prstClr val="black"/>
                </a:solidFill>
                <a:effectLst/>
                <a:uLnTx/>
                <a:uFillTx/>
                <a:latin typeface="Arial Black"/>
                <a:ea typeface="+mn-ea"/>
                <a:cs typeface="+mn-cs"/>
              </a:rPr>
            </a:br>
            <a:r>
              <a:rPr kumimoji="0" lang="en-US" sz="1200" b="0" i="0" u="none" strike="noStrike" kern="1200" cap="none" spc="0" normalizeH="0" baseline="0" noProof="0">
                <a:ln>
                  <a:noFill/>
                </a:ln>
                <a:solidFill>
                  <a:prstClr val="black"/>
                </a:solidFill>
                <a:effectLst/>
                <a:uLnTx/>
                <a:uFillTx/>
                <a:latin typeface="Arial"/>
                <a:ea typeface="+mn-ea"/>
                <a:cs typeface="+mn-cs"/>
              </a:rPr>
              <a:t>On demand custom reporting capabilities</a:t>
            </a:r>
          </a:p>
          <a:p>
            <a:pPr marL="0" marR="0" lvl="0" indent="0" algn="l"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Custom dashboards for specific needs </a:t>
            </a:r>
          </a:p>
          <a:p>
            <a:pPr marL="0" marR="0" lvl="0" indent="0" algn="l"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127" rtl="0" eaLnBrk="1" fontAlgn="auto" latinLnBrk="0" hangingPunct="1">
              <a:lnSpc>
                <a:spcPct val="130000"/>
              </a:lnSpc>
              <a:spcBef>
                <a:spcPts val="0"/>
              </a:spcBef>
              <a:spcAft>
                <a:spcPts val="1000"/>
              </a:spcAft>
              <a:buClrTx/>
              <a:buSzTx/>
              <a:buFont typeface="Wingdings" panose="05000000000000000000" pitchFamily="2" charset="2"/>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146126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C8B2A1-41EE-F0DE-9953-299A2EC53A8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0"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707070"/>
              </a:solidFill>
              <a:effectLst/>
              <a:uLnTx/>
              <a:uFillTx/>
              <a:latin typeface="Arial"/>
              <a:ea typeface="+mn-ea"/>
              <a:cs typeface="+mn-cs"/>
            </a:endParaRPr>
          </a:p>
        </p:txBody>
      </p:sp>
      <p:sp>
        <p:nvSpPr>
          <p:cNvPr id="3" name="Title 2">
            <a:extLst>
              <a:ext uri="{FF2B5EF4-FFF2-40B4-BE49-F238E27FC236}">
                <a16:creationId xmlns:a16="http://schemas.microsoft.com/office/drawing/2014/main" id="{8608ACFE-887F-9BB2-00E7-570E6C43527E}"/>
              </a:ext>
            </a:extLst>
          </p:cNvPr>
          <p:cNvSpPr>
            <a:spLocks noGrp="1"/>
          </p:cNvSpPr>
          <p:nvPr>
            <p:ph type="title"/>
          </p:nvPr>
        </p:nvSpPr>
        <p:spPr>
          <a:xfrm>
            <a:off x="358819" y="427059"/>
            <a:ext cx="11446494" cy="697883"/>
          </a:xfrm>
        </p:spPr>
        <p:txBody>
          <a:bodyPr/>
          <a:lstStyle/>
          <a:p>
            <a:r>
              <a:rPr lang="en-US"/>
              <a:t>Value proposition &amp; VALUE WALK – </a:t>
            </a:r>
            <a:br>
              <a:rPr lang="en-US"/>
            </a:br>
            <a:r>
              <a:rPr lang="en-US">
                <a:solidFill>
                  <a:srgbClr val="FF0000"/>
                </a:solidFill>
              </a:rPr>
              <a:t>PREDICTIVE MAINTENANCE </a:t>
            </a:r>
            <a:endParaRPr lang="en-US"/>
          </a:p>
        </p:txBody>
      </p:sp>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F2A87B4D-2229-89C0-964E-ED731ADE402C}"/>
                  </a:ext>
                </a:extLst>
              </p:cNvPr>
              <p:cNvGraphicFramePr/>
              <p:nvPr/>
            </p:nvGraphicFramePr>
            <p:xfrm>
              <a:off x="358819" y="1435100"/>
              <a:ext cx="11446494" cy="47371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4" name="Chart 3">
                <a:extLst>
                  <a:ext uri="{FF2B5EF4-FFF2-40B4-BE49-F238E27FC236}">
                    <a16:creationId xmlns:a16="http://schemas.microsoft.com/office/drawing/2014/main" id="{F2A87B4D-2229-89C0-964E-ED731ADE402C}"/>
                  </a:ext>
                </a:extLst>
              </p:cNvPr>
              <p:cNvPicPr>
                <a:picLocks noGrp="1" noRot="1" noChangeAspect="1" noMove="1" noResize="1" noEditPoints="1" noAdjustHandles="1" noChangeArrowheads="1" noChangeShapeType="1"/>
              </p:cNvPicPr>
              <p:nvPr/>
            </p:nvPicPr>
            <p:blipFill>
              <a:blip r:embed="rId3"/>
              <a:stretch>
                <a:fillRect/>
              </a:stretch>
            </p:blipFill>
            <p:spPr>
              <a:xfrm>
                <a:off x="358819" y="1435100"/>
                <a:ext cx="11446494" cy="4737100"/>
              </a:xfrm>
              <a:prstGeom prst="rect">
                <a:avLst/>
              </a:prstGeom>
            </p:spPr>
          </p:pic>
        </mc:Fallback>
      </mc:AlternateContent>
    </p:spTree>
    <p:extLst>
      <p:ext uri="{BB962C8B-B14F-4D97-AF65-F5344CB8AC3E}">
        <p14:creationId xmlns:p14="http://schemas.microsoft.com/office/powerpoint/2010/main" val="13718431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2C5E4A-B387-C572-32CA-421CA9DD929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0"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707070"/>
              </a:solidFill>
              <a:effectLst/>
              <a:uLnTx/>
              <a:uFillTx/>
              <a:latin typeface="Arial"/>
              <a:ea typeface="+mn-ea"/>
              <a:cs typeface="+mn-cs"/>
            </a:endParaRPr>
          </a:p>
        </p:txBody>
      </p:sp>
      <p:sp>
        <p:nvSpPr>
          <p:cNvPr id="3" name="Title 2">
            <a:extLst>
              <a:ext uri="{FF2B5EF4-FFF2-40B4-BE49-F238E27FC236}">
                <a16:creationId xmlns:a16="http://schemas.microsoft.com/office/drawing/2014/main" id="{36BFACEA-90BB-7988-7CD5-57FAC52DC143}"/>
              </a:ext>
            </a:extLst>
          </p:cNvPr>
          <p:cNvSpPr>
            <a:spLocks noGrp="1"/>
          </p:cNvSpPr>
          <p:nvPr>
            <p:ph type="title"/>
          </p:nvPr>
        </p:nvSpPr>
        <p:spPr>
          <a:xfrm>
            <a:off x="358819" y="427059"/>
            <a:ext cx="11446494" cy="797526"/>
          </a:xfrm>
        </p:spPr>
        <p:txBody>
          <a:bodyPr/>
          <a:lstStyle/>
          <a:p>
            <a:r>
              <a:rPr lang="en-US"/>
              <a:t>Value proposition &amp; VALUE WALK - partner</a:t>
            </a:r>
            <a:br>
              <a:rPr lang="en-US"/>
            </a:br>
            <a:r>
              <a:rPr lang="en-US">
                <a:solidFill>
                  <a:srgbClr val="FF0000"/>
                </a:solidFill>
              </a:rPr>
              <a:t>insight builder</a:t>
            </a:r>
            <a:endParaRPr lang="en-US"/>
          </a:p>
        </p:txBody>
      </p:sp>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A9055157-F263-4451-710A-EEF3A70EEA7F}"/>
                  </a:ext>
                </a:extLst>
              </p:cNvPr>
              <p:cNvGraphicFramePr/>
              <p:nvPr/>
            </p:nvGraphicFramePr>
            <p:xfrm>
              <a:off x="204612" y="1489583"/>
              <a:ext cx="11446494" cy="4187317"/>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4" name="Chart 3">
                <a:extLst>
                  <a:ext uri="{FF2B5EF4-FFF2-40B4-BE49-F238E27FC236}">
                    <a16:creationId xmlns:a16="http://schemas.microsoft.com/office/drawing/2014/main" id="{A9055157-F263-4451-710A-EEF3A70EEA7F}"/>
                  </a:ext>
                </a:extLst>
              </p:cNvPr>
              <p:cNvPicPr>
                <a:picLocks noGrp="1" noRot="1" noChangeAspect="1" noMove="1" noResize="1" noEditPoints="1" noAdjustHandles="1" noChangeArrowheads="1" noChangeShapeType="1"/>
              </p:cNvPicPr>
              <p:nvPr/>
            </p:nvPicPr>
            <p:blipFill>
              <a:blip r:embed="rId3"/>
              <a:stretch>
                <a:fillRect/>
              </a:stretch>
            </p:blipFill>
            <p:spPr>
              <a:xfrm>
                <a:off x="204612" y="1489583"/>
                <a:ext cx="11446494" cy="4187317"/>
              </a:xfrm>
              <a:prstGeom prst="rect">
                <a:avLst/>
              </a:prstGeom>
            </p:spPr>
          </p:pic>
        </mc:Fallback>
      </mc:AlternateContent>
    </p:spTree>
    <p:extLst>
      <p:ext uri="{BB962C8B-B14F-4D97-AF65-F5344CB8AC3E}">
        <p14:creationId xmlns:p14="http://schemas.microsoft.com/office/powerpoint/2010/main" val="23973916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7B5348-0456-EC34-F7F9-0BF022AFD8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0"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707070"/>
              </a:solidFill>
              <a:effectLst/>
              <a:uLnTx/>
              <a:uFillTx/>
              <a:latin typeface="Arial"/>
              <a:ea typeface="+mn-ea"/>
              <a:cs typeface="+mn-cs"/>
            </a:endParaRPr>
          </a:p>
        </p:txBody>
      </p:sp>
      <p:sp>
        <p:nvSpPr>
          <p:cNvPr id="3" name="Title 2">
            <a:extLst>
              <a:ext uri="{FF2B5EF4-FFF2-40B4-BE49-F238E27FC236}">
                <a16:creationId xmlns:a16="http://schemas.microsoft.com/office/drawing/2014/main" id="{42405F09-F481-2C14-4FA0-E92C910EF145}"/>
              </a:ext>
            </a:extLst>
          </p:cNvPr>
          <p:cNvSpPr>
            <a:spLocks noGrp="1"/>
          </p:cNvSpPr>
          <p:nvPr>
            <p:ph type="title"/>
          </p:nvPr>
        </p:nvSpPr>
        <p:spPr>
          <a:xfrm>
            <a:off x="358819" y="427059"/>
            <a:ext cx="11446494" cy="797526"/>
          </a:xfrm>
        </p:spPr>
        <p:txBody>
          <a:bodyPr/>
          <a:lstStyle/>
          <a:p>
            <a:r>
              <a:rPr lang="en-US"/>
              <a:t>Value proposition &amp; VALUE WALK – end user</a:t>
            </a:r>
            <a:br>
              <a:rPr lang="en-US"/>
            </a:br>
            <a:r>
              <a:rPr lang="en-US">
                <a:solidFill>
                  <a:srgbClr val="FF0000"/>
                </a:solidFill>
              </a:rPr>
              <a:t>insight builder</a:t>
            </a:r>
            <a:endParaRPr lang="en-US"/>
          </a:p>
        </p:txBody>
      </p:sp>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FB3C7237-06A3-0936-BE60-4CC5E3EB1F44}"/>
                  </a:ext>
                </a:extLst>
              </p:cNvPr>
              <p:cNvGraphicFramePr/>
              <p:nvPr/>
            </p:nvGraphicFramePr>
            <p:xfrm>
              <a:off x="152399" y="1860549"/>
              <a:ext cx="12039601" cy="3409951"/>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4" name="Chart 3">
                <a:extLst>
                  <a:ext uri="{FF2B5EF4-FFF2-40B4-BE49-F238E27FC236}">
                    <a16:creationId xmlns:a16="http://schemas.microsoft.com/office/drawing/2014/main" id="{FB3C7237-06A3-0936-BE60-4CC5E3EB1F44}"/>
                  </a:ext>
                </a:extLst>
              </p:cNvPr>
              <p:cNvPicPr>
                <a:picLocks noGrp="1" noRot="1" noChangeAspect="1" noMove="1" noResize="1" noEditPoints="1" noAdjustHandles="1" noChangeArrowheads="1" noChangeShapeType="1"/>
              </p:cNvPicPr>
              <p:nvPr/>
            </p:nvPicPr>
            <p:blipFill>
              <a:blip r:embed="rId3"/>
              <a:stretch>
                <a:fillRect/>
              </a:stretch>
            </p:blipFill>
            <p:spPr>
              <a:xfrm>
                <a:off x="152399" y="1860549"/>
                <a:ext cx="12039601" cy="3409951"/>
              </a:xfrm>
              <a:prstGeom prst="rect">
                <a:avLst/>
              </a:prstGeom>
            </p:spPr>
          </p:pic>
        </mc:Fallback>
      </mc:AlternateContent>
      <p:sp>
        <p:nvSpPr>
          <p:cNvPr id="6" name="TextBox 5">
            <a:extLst>
              <a:ext uri="{FF2B5EF4-FFF2-40B4-BE49-F238E27FC236}">
                <a16:creationId xmlns:a16="http://schemas.microsoft.com/office/drawing/2014/main" id="{87FE787B-4D84-9985-0376-E4427A8DD519}"/>
              </a:ext>
            </a:extLst>
          </p:cNvPr>
          <p:cNvSpPr txBox="1"/>
          <p:nvPr/>
        </p:nvSpPr>
        <p:spPr>
          <a:xfrm>
            <a:off x="431582" y="1265567"/>
            <a:ext cx="1112525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End customer and partner prices seem to be same? </a:t>
            </a:r>
          </a:p>
        </p:txBody>
      </p:sp>
    </p:spTree>
    <p:extLst>
      <p:ext uri="{BB962C8B-B14F-4D97-AF65-F5344CB8AC3E}">
        <p14:creationId xmlns:p14="http://schemas.microsoft.com/office/powerpoint/2010/main" val="2657109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7BB55-D826-2DE3-EC30-A93583050DCE}"/>
            </a:ext>
          </a:extLst>
        </p:cNvPr>
        <p:cNvGrpSpPr/>
        <p:nvPr/>
      </p:nvGrpSpPr>
      <p:grpSpPr>
        <a:xfrm>
          <a:off x="0" y="0"/>
          <a:ext cx="0" cy="0"/>
          <a:chOff x="0" y="0"/>
          <a:chExt cx="0" cy="0"/>
        </a:xfrm>
      </p:grpSpPr>
      <p:sp>
        <p:nvSpPr>
          <p:cNvPr id="60" name="Rectangle 59">
            <a:extLst>
              <a:ext uri="{FF2B5EF4-FFF2-40B4-BE49-F238E27FC236}">
                <a16:creationId xmlns:a16="http://schemas.microsoft.com/office/drawing/2014/main" id="{5DE138BB-0DA8-EDBD-CBBA-CCD2BA250EDD}"/>
              </a:ext>
            </a:extLst>
          </p:cNvPr>
          <p:cNvSpPr/>
          <p:nvPr/>
        </p:nvSpPr>
        <p:spPr>
          <a:xfrm>
            <a:off x="3636856" y="2660688"/>
            <a:ext cx="2567570" cy="32115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n-ea"/>
              <a:cs typeface="+mn-cs"/>
            </a:endParaRPr>
          </a:p>
        </p:txBody>
      </p:sp>
      <p:sp>
        <p:nvSpPr>
          <p:cNvPr id="22" name="TextBox 21">
            <a:extLst>
              <a:ext uri="{FF2B5EF4-FFF2-40B4-BE49-F238E27FC236}">
                <a16:creationId xmlns:a16="http://schemas.microsoft.com/office/drawing/2014/main" id="{FA1563C4-A79F-087B-3255-09BE565A7DD8}"/>
              </a:ext>
            </a:extLst>
          </p:cNvPr>
          <p:cNvSpPr txBox="1"/>
          <p:nvPr/>
        </p:nvSpPr>
        <p:spPr>
          <a:xfrm>
            <a:off x="464848" y="797097"/>
            <a:ext cx="11569182" cy="29411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Black"/>
                <a:ea typeface="+mn-ea"/>
                <a:cs typeface="+mn-cs"/>
              </a:rPr>
              <a:t>Building Customer</a:t>
            </a:r>
          </a:p>
        </p:txBody>
      </p:sp>
      <p:sp>
        <p:nvSpPr>
          <p:cNvPr id="29" name="Rectangle: Rounded Corners 28">
            <a:extLst>
              <a:ext uri="{FF2B5EF4-FFF2-40B4-BE49-F238E27FC236}">
                <a16:creationId xmlns:a16="http://schemas.microsoft.com/office/drawing/2014/main" id="{6A595C4D-CA20-6120-5B13-B5FA53CF3E5F}"/>
              </a:ext>
            </a:extLst>
          </p:cNvPr>
          <p:cNvSpPr/>
          <p:nvPr/>
        </p:nvSpPr>
        <p:spPr>
          <a:xfrm>
            <a:off x="3636856" y="1030748"/>
            <a:ext cx="8335700" cy="808719"/>
          </a:xfrm>
          <a:prstGeom prst="roundRect">
            <a:avLst>
              <a:gd name="adj" fmla="val 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1620"/>
              </a:lnSpc>
              <a:spcBef>
                <a:spcPct val="0"/>
              </a:spcBef>
              <a:spcAft>
                <a:spcPts val="0"/>
              </a:spcAft>
              <a:buClrTx/>
              <a:buSzTx/>
              <a:buFontTx/>
              <a:buNone/>
              <a:tabLst/>
              <a:defRPr/>
            </a:pPr>
            <a:endParaRPr kumimoji="0" lang="en-US" sz="1800" b="1" i="0" u="none" strike="noStrike" kern="1200" cap="none" spc="0" normalizeH="0" baseline="0" noProof="0">
              <a:ln>
                <a:noFill/>
              </a:ln>
              <a:solidFill>
                <a:srgbClr val="E0E0E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ts val="1620"/>
              </a:lnSpc>
              <a:spcBef>
                <a:spcPct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alue Calcula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grpSp>
        <p:nvGrpSpPr>
          <p:cNvPr id="35" name="Group 34">
            <a:extLst>
              <a:ext uri="{FF2B5EF4-FFF2-40B4-BE49-F238E27FC236}">
                <a16:creationId xmlns:a16="http://schemas.microsoft.com/office/drawing/2014/main" id="{D6C1F333-D19C-8720-D25D-0C34799797DE}"/>
              </a:ext>
            </a:extLst>
          </p:cNvPr>
          <p:cNvGrpSpPr/>
          <p:nvPr/>
        </p:nvGrpSpPr>
        <p:grpSpPr>
          <a:xfrm>
            <a:off x="9110731" y="1385735"/>
            <a:ext cx="1188720" cy="354071"/>
            <a:chOff x="9362073" y="634280"/>
            <a:chExt cx="1188720" cy="354071"/>
          </a:xfrm>
        </p:grpSpPr>
        <p:sp>
          <p:nvSpPr>
            <p:cNvPr id="37" name="Rectangle: Rounded Corners 36">
              <a:extLst>
                <a:ext uri="{FF2B5EF4-FFF2-40B4-BE49-F238E27FC236}">
                  <a16:creationId xmlns:a16="http://schemas.microsoft.com/office/drawing/2014/main" id="{8F2B329A-BBDB-A523-5F90-F2E841DAA27D}"/>
                </a:ext>
              </a:extLst>
            </p:cNvPr>
            <p:cNvSpPr/>
            <p:nvPr/>
          </p:nvSpPr>
          <p:spPr>
            <a:xfrm>
              <a:off x="9362073" y="634280"/>
              <a:ext cx="1188720" cy="108187"/>
            </a:xfrm>
            <a:prstGeom prst="roundRect">
              <a:avLst>
                <a:gd name="adj" fmla="val 50000"/>
              </a:avLst>
            </a:prstGeom>
            <a:gradFill>
              <a:gsLst>
                <a:gs pos="0">
                  <a:schemeClr val="accent1"/>
                </a:gs>
                <a:gs pos="100000">
                  <a:srgbClr val="EE312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39" name="Rectangle: Rounded Corners 38">
              <a:extLst>
                <a:ext uri="{FF2B5EF4-FFF2-40B4-BE49-F238E27FC236}">
                  <a16:creationId xmlns:a16="http://schemas.microsoft.com/office/drawing/2014/main" id="{688C20A7-ECB4-FE2A-3C31-96219C342949}"/>
                </a:ext>
              </a:extLst>
            </p:cNvPr>
            <p:cNvSpPr/>
            <p:nvPr/>
          </p:nvSpPr>
          <p:spPr>
            <a:xfrm>
              <a:off x="9362073" y="880164"/>
              <a:ext cx="1110952" cy="108187"/>
            </a:xfrm>
            <a:prstGeom prst="roundRect">
              <a:avLst>
                <a:gd name="adj" fmla="val 50000"/>
              </a:avLst>
            </a:prstGeom>
            <a:gradFill>
              <a:gsLst>
                <a:gs pos="0">
                  <a:schemeClr val="accent1"/>
                </a:gs>
                <a:gs pos="100000">
                  <a:srgbClr val="EE312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1620"/>
                </a:lnSpc>
                <a:spcBef>
                  <a:spcPct val="0"/>
                </a:spcBef>
                <a:spcAft>
                  <a:spcPts val="0"/>
                </a:spcAft>
                <a:buClrTx/>
                <a:buSzTx/>
                <a:buFontTx/>
                <a:buNone/>
                <a:tabLst/>
                <a:defRPr/>
              </a:pPr>
              <a:endParaRPr kumimoji="0" lang="en-US" sz="1800" b="1" i="0" u="none" strike="noStrike" kern="1200" cap="none" spc="0" normalizeH="0" baseline="0" noProof="0">
                <a:ln>
                  <a:noFill/>
                </a:ln>
                <a:solidFill>
                  <a:srgbClr val="E0E0E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grpSp>
      <p:sp>
        <p:nvSpPr>
          <p:cNvPr id="40" name="Rectangle: Rounded Corners 39">
            <a:extLst>
              <a:ext uri="{FF2B5EF4-FFF2-40B4-BE49-F238E27FC236}">
                <a16:creationId xmlns:a16="http://schemas.microsoft.com/office/drawing/2014/main" id="{223C312C-FC30-E05A-BE16-0C5224E725F0}"/>
              </a:ext>
            </a:extLst>
          </p:cNvPr>
          <p:cNvSpPr/>
          <p:nvPr/>
        </p:nvSpPr>
        <p:spPr>
          <a:xfrm>
            <a:off x="9015871" y="1064398"/>
            <a:ext cx="123434" cy="804006"/>
          </a:xfrm>
          <a:prstGeom prst="roundRect">
            <a:avLst>
              <a:gd name="adj" fmla="val 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1620"/>
              </a:lnSpc>
              <a:spcBef>
                <a:spcPct val="0"/>
              </a:spcBef>
              <a:spcAft>
                <a:spcPts val="0"/>
              </a:spcAft>
              <a:buClrTx/>
              <a:buSzTx/>
              <a:buFontTx/>
              <a:buNone/>
              <a:tabLst/>
              <a:defRPr/>
            </a:pPr>
            <a:endParaRPr kumimoji="0" lang="en-US" sz="1800" b="1" i="0" u="none" strike="noStrike" kern="1200" cap="none" spc="0" normalizeH="0" baseline="0" noProof="0">
              <a:ln>
                <a:noFill/>
              </a:ln>
              <a:solidFill>
                <a:srgbClr val="E0E0E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41" name="TextBox 40">
            <a:extLst>
              <a:ext uri="{FF2B5EF4-FFF2-40B4-BE49-F238E27FC236}">
                <a16:creationId xmlns:a16="http://schemas.microsoft.com/office/drawing/2014/main" id="{FD5FB027-B3C6-AE63-9D0D-7EF2443FB6A5}"/>
              </a:ext>
            </a:extLst>
          </p:cNvPr>
          <p:cNvSpPr txBox="1"/>
          <p:nvPr/>
        </p:nvSpPr>
        <p:spPr>
          <a:xfrm>
            <a:off x="7279740" y="1013532"/>
            <a:ext cx="2116347" cy="353943"/>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ALUE DRIVERS:</a:t>
            </a:r>
          </a:p>
        </p:txBody>
      </p:sp>
      <p:sp>
        <p:nvSpPr>
          <p:cNvPr id="45" name="Rectangle 44">
            <a:extLst>
              <a:ext uri="{FF2B5EF4-FFF2-40B4-BE49-F238E27FC236}">
                <a16:creationId xmlns:a16="http://schemas.microsoft.com/office/drawing/2014/main" id="{A363CCC0-A98B-DA75-9439-3930A639749B}"/>
              </a:ext>
            </a:extLst>
          </p:cNvPr>
          <p:cNvSpPr/>
          <p:nvPr/>
        </p:nvSpPr>
        <p:spPr>
          <a:xfrm>
            <a:off x="5989121" y="1319134"/>
            <a:ext cx="3131135" cy="507831"/>
          </a:xfrm>
          <a:prstGeom prst="rect">
            <a:avLst/>
          </a:prstGeom>
        </p:spPr>
        <p:txBody>
          <a:bodyPr wrap="square" lIns="91440" tIns="45720" rIns="91440" bIns="45720" anchor="t">
            <a:spAutoFit/>
          </a:bodyPr>
          <a:lstStyle/>
          <a:p>
            <a:pPr marL="0" marR="0" lvl="0" indent="0" algn="r" defTabSz="914400" rtl="0" eaLnBrk="1" fontAlgn="base"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mn-cs"/>
              </a:rPr>
              <a:t>Energy Reporting</a:t>
            </a:r>
          </a:p>
          <a:p>
            <a:pPr marL="0" marR="0" lvl="0" indent="0" algn="r" defTabSz="914400" rtl="0" eaLnBrk="1" fontAlgn="base"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mn-cs"/>
              </a:rPr>
              <a:t>Energy Consumption Analysis</a:t>
            </a:r>
          </a:p>
        </p:txBody>
      </p:sp>
      <p:cxnSp>
        <p:nvCxnSpPr>
          <p:cNvPr id="46" name="Straight Connector 45">
            <a:extLst>
              <a:ext uri="{FF2B5EF4-FFF2-40B4-BE49-F238E27FC236}">
                <a16:creationId xmlns:a16="http://schemas.microsoft.com/office/drawing/2014/main" id="{90CDDEE5-A357-5AF1-0E28-A6A5B96CC8D2}"/>
              </a:ext>
            </a:extLst>
          </p:cNvPr>
          <p:cNvCxnSpPr/>
          <p:nvPr/>
        </p:nvCxnSpPr>
        <p:spPr>
          <a:xfrm>
            <a:off x="9139305" y="1319134"/>
            <a:ext cx="0" cy="45720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47" name="TextBox 46">
            <a:extLst>
              <a:ext uri="{FF2B5EF4-FFF2-40B4-BE49-F238E27FC236}">
                <a16:creationId xmlns:a16="http://schemas.microsoft.com/office/drawing/2014/main" id="{F2FC3A7D-93BD-AA22-08D2-A4C093C2DB2D}"/>
              </a:ext>
            </a:extLst>
          </p:cNvPr>
          <p:cNvSpPr txBox="1"/>
          <p:nvPr/>
        </p:nvSpPr>
        <p:spPr>
          <a:xfrm>
            <a:off x="9117002" y="1017644"/>
            <a:ext cx="2330741" cy="307777"/>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ow                                Med                             High</a:t>
            </a:r>
          </a:p>
        </p:txBody>
      </p:sp>
      <p:sp>
        <p:nvSpPr>
          <p:cNvPr id="48" name="Rectangle 47">
            <a:extLst>
              <a:ext uri="{FF2B5EF4-FFF2-40B4-BE49-F238E27FC236}">
                <a16:creationId xmlns:a16="http://schemas.microsoft.com/office/drawing/2014/main" id="{C1661247-6B67-D7FF-1502-F4ACBB1EC999}"/>
              </a:ext>
            </a:extLst>
          </p:cNvPr>
          <p:cNvSpPr/>
          <p:nvPr/>
        </p:nvSpPr>
        <p:spPr>
          <a:xfrm>
            <a:off x="6805538" y="2641701"/>
            <a:ext cx="747144" cy="321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A1F3A68D-BA79-9B6E-5554-0D31C35D92E4}"/>
              </a:ext>
            </a:extLst>
          </p:cNvPr>
          <p:cNvSpPr/>
          <p:nvPr/>
        </p:nvSpPr>
        <p:spPr>
          <a:xfrm>
            <a:off x="2340542" y="2660692"/>
            <a:ext cx="1197640" cy="32115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58B1F077-7F99-CEB0-9062-3A69F72508B5}"/>
              </a:ext>
            </a:extLst>
          </p:cNvPr>
          <p:cNvSpPr/>
          <p:nvPr/>
        </p:nvSpPr>
        <p:spPr>
          <a:xfrm>
            <a:off x="1142451" y="2660692"/>
            <a:ext cx="1105855" cy="32115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23C6CDBF-DB05-F18D-97AA-8A110A580603}"/>
              </a:ext>
            </a:extLst>
          </p:cNvPr>
          <p:cNvSpPr/>
          <p:nvPr/>
        </p:nvSpPr>
        <p:spPr>
          <a:xfrm>
            <a:off x="1142451" y="2006749"/>
            <a:ext cx="1105855" cy="61397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Cost of NBA</a:t>
            </a:r>
          </a:p>
        </p:txBody>
      </p:sp>
      <p:sp>
        <p:nvSpPr>
          <p:cNvPr id="53" name="Rectangle 52">
            <a:extLst>
              <a:ext uri="{FF2B5EF4-FFF2-40B4-BE49-F238E27FC236}">
                <a16:creationId xmlns:a16="http://schemas.microsoft.com/office/drawing/2014/main" id="{C6D95A6A-610A-4BE9-B3B2-43235E0DB135}"/>
              </a:ext>
            </a:extLst>
          </p:cNvPr>
          <p:cNvSpPr/>
          <p:nvPr/>
        </p:nvSpPr>
        <p:spPr>
          <a:xfrm>
            <a:off x="2340542" y="2006749"/>
            <a:ext cx="1197640" cy="6139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Value of Hon SaaS</a:t>
            </a:r>
          </a:p>
        </p:txBody>
      </p:sp>
      <p:sp>
        <p:nvSpPr>
          <p:cNvPr id="54" name="Rectangle 53">
            <a:extLst>
              <a:ext uri="{FF2B5EF4-FFF2-40B4-BE49-F238E27FC236}">
                <a16:creationId xmlns:a16="http://schemas.microsoft.com/office/drawing/2014/main" id="{9FC478C6-C675-A33C-93A3-7535A1396550}"/>
              </a:ext>
            </a:extLst>
          </p:cNvPr>
          <p:cNvSpPr/>
          <p:nvPr/>
        </p:nvSpPr>
        <p:spPr>
          <a:xfrm>
            <a:off x="6805538" y="1992490"/>
            <a:ext cx="747144" cy="615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ROI</a:t>
            </a:r>
          </a:p>
        </p:txBody>
      </p:sp>
      <p:sp>
        <p:nvSpPr>
          <p:cNvPr id="61" name="Rectangle 60">
            <a:extLst>
              <a:ext uri="{FF2B5EF4-FFF2-40B4-BE49-F238E27FC236}">
                <a16:creationId xmlns:a16="http://schemas.microsoft.com/office/drawing/2014/main" id="{9F1DAF0F-7243-575A-00A7-98A89F91135C}"/>
              </a:ext>
            </a:extLst>
          </p:cNvPr>
          <p:cNvSpPr/>
          <p:nvPr/>
        </p:nvSpPr>
        <p:spPr>
          <a:xfrm>
            <a:off x="3636856" y="2005616"/>
            <a:ext cx="2567569" cy="615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Pricing (SaaS)</a:t>
            </a:r>
          </a:p>
        </p:txBody>
      </p:sp>
      <p:sp>
        <p:nvSpPr>
          <p:cNvPr id="6" name="Rectangle: Rounded Corners 5">
            <a:extLst>
              <a:ext uri="{FF2B5EF4-FFF2-40B4-BE49-F238E27FC236}">
                <a16:creationId xmlns:a16="http://schemas.microsoft.com/office/drawing/2014/main" id="{D81A3636-3BFF-0FB8-20D5-C2C113E5DE1A}"/>
              </a:ext>
            </a:extLst>
          </p:cNvPr>
          <p:cNvSpPr/>
          <p:nvPr/>
        </p:nvSpPr>
        <p:spPr>
          <a:xfrm>
            <a:off x="1520106" y="3950602"/>
            <a:ext cx="466154" cy="1933333"/>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B161502C-86E7-D909-CFCF-A94D171DF9E8}"/>
              </a:ext>
            </a:extLst>
          </p:cNvPr>
          <p:cNvCxnSpPr/>
          <p:nvPr/>
        </p:nvCxnSpPr>
        <p:spPr>
          <a:xfrm>
            <a:off x="1062929" y="6006107"/>
            <a:ext cx="64008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DBB6A8B-E1DE-4F81-5F79-E854065F985D}"/>
              </a:ext>
            </a:extLst>
          </p:cNvPr>
          <p:cNvSpPr txBox="1"/>
          <p:nvPr/>
        </p:nvSpPr>
        <p:spPr>
          <a:xfrm>
            <a:off x="1244541" y="6047120"/>
            <a:ext cx="89285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NBA on Prem solution yearly</a:t>
            </a:r>
          </a:p>
        </p:txBody>
      </p:sp>
      <p:sp>
        <p:nvSpPr>
          <p:cNvPr id="51" name="TextBox 50">
            <a:extLst>
              <a:ext uri="{FF2B5EF4-FFF2-40B4-BE49-F238E27FC236}">
                <a16:creationId xmlns:a16="http://schemas.microsoft.com/office/drawing/2014/main" id="{6E6FAC47-6733-6CA6-869C-A9073B6BE275}"/>
              </a:ext>
            </a:extLst>
          </p:cNvPr>
          <p:cNvSpPr txBox="1"/>
          <p:nvPr/>
        </p:nvSpPr>
        <p:spPr>
          <a:xfrm>
            <a:off x="1555429" y="4353781"/>
            <a:ext cx="74714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mn-ea"/>
                <a:cs typeface="+mn-cs"/>
              </a:rPr>
              <a:t>$1920</a:t>
            </a:r>
          </a:p>
        </p:txBody>
      </p:sp>
      <p:sp>
        <p:nvSpPr>
          <p:cNvPr id="70" name="TextBox 69">
            <a:extLst>
              <a:ext uri="{FF2B5EF4-FFF2-40B4-BE49-F238E27FC236}">
                <a16:creationId xmlns:a16="http://schemas.microsoft.com/office/drawing/2014/main" id="{5F560132-4390-B37D-1CCB-99EFFBDA9E76}"/>
              </a:ext>
            </a:extLst>
          </p:cNvPr>
          <p:cNvSpPr txBox="1"/>
          <p:nvPr/>
        </p:nvSpPr>
        <p:spPr>
          <a:xfrm>
            <a:off x="2477166" y="6030664"/>
            <a:ext cx="892855"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Value - labor Savings for SI</a:t>
            </a:r>
          </a:p>
        </p:txBody>
      </p:sp>
      <p:sp>
        <p:nvSpPr>
          <p:cNvPr id="73" name="Rectangle: Rounded Corners 72">
            <a:extLst>
              <a:ext uri="{FF2B5EF4-FFF2-40B4-BE49-F238E27FC236}">
                <a16:creationId xmlns:a16="http://schemas.microsoft.com/office/drawing/2014/main" id="{CCDCDF87-5451-80E3-ADAB-3096C3F8F47A}"/>
              </a:ext>
            </a:extLst>
          </p:cNvPr>
          <p:cNvSpPr/>
          <p:nvPr/>
        </p:nvSpPr>
        <p:spPr>
          <a:xfrm>
            <a:off x="2677727" y="4529134"/>
            <a:ext cx="367739" cy="13278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74" name="Rectangle: Rounded Corners 73">
            <a:extLst>
              <a:ext uri="{FF2B5EF4-FFF2-40B4-BE49-F238E27FC236}">
                <a16:creationId xmlns:a16="http://schemas.microsoft.com/office/drawing/2014/main" id="{01F3BE91-2936-BC12-7302-594A80F6A16A}"/>
              </a:ext>
            </a:extLst>
          </p:cNvPr>
          <p:cNvSpPr/>
          <p:nvPr/>
        </p:nvSpPr>
        <p:spPr>
          <a:xfrm>
            <a:off x="3704154" y="3886312"/>
            <a:ext cx="466154" cy="197063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75" name="TextBox 74">
            <a:extLst>
              <a:ext uri="{FF2B5EF4-FFF2-40B4-BE49-F238E27FC236}">
                <a16:creationId xmlns:a16="http://schemas.microsoft.com/office/drawing/2014/main" id="{A1FDF88A-72D3-05D0-12F0-13083CA96EDF}"/>
              </a:ext>
            </a:extLst>
          </p:cNvPr>
          <p:cNvSpPr txBox="1"/>
          <p:nvPr/>
        </p:nvSpPr>
        <p:spPr>
          <a:xfrm>
            <a:off x="3704154" y="6011059"/>
            <a:ext cx="747143"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Value Price (Maximum Price)</a:t>
            </a:r>
          </a:p>
        </p:txBody>
      </p:sp>
      <p:sp>
        <p:nvSpPr>
          <p:cNvPr id="76" name="Rectangle: Rounded Corners 75">
            <a:extLst>
              <a:ext uri="{FF2B5EF4-FFF2-40B4-BE49-F238E27FC236}">
                <a16:creationId xmlns:a16="http://schemas.microsoft.com/office/drawing/2014/main" id="{91ACB1A2-2F2B-8F5A-7E28-F2E8127137CB}"/>
              </a:ext>
            </a:extLst>
          </p:cNvPr>
          <p:cNvSpPr/>
          <p:nvPr/>
        </p:nvSpPr>
        <p:spPr>
          <a:xfrm>
            <a:off x="4590431" y="3875806"/>
            <a:ext cx="466154" cy="109584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77" name="Rectangle: Rounded Corners 76">
            <a:extLst>
              <a:ext uri="{FF2B5EF4-FFF2-40B4-BE49-F238E27FC236}">
                <a16:creationId xmlns:a16="http://schemas.microsoft.com/office/drawing/2014/main" id="{121ED4AC-F44F-AD4A-ED5E-DF7C19102999}"/>
              </a:ext>
            </a:extLst>
          </p:cNvPr>
          <p:cNvSpPr/>
          <p:nvPr/>
        </p:nvSpPr>
        <p:spPr>
          <a:xfrm>
            <a:off x="5522968" y="5271395"/>
            <a:ext cx="466154" cy="59810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81" name="TextBox 80">
            <a:extLst>
              <a:ext uri="{FF2B5EF4-FFF2-40B4-BE49-F238E27FC236}">
                <a16:creationId xmlns:a16="http://schemas.microsoft.com/office/drawing/2014/main" id="{5D916018-225B-C7F1-1C3E-AFEAAA412B5C}"/>
              </a:ext>
            </a:extLst>
          </p:cNvPr>
          <p:cNvSpPr txBox="1"/>
          <p:nvPr/>
        </p:nvSpPr>
        <p:spPr>
          <a:xfrm>
            <a:off x="3704154" y="6011058"/>
            <a:ext cx="747143"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Value Price (Maximum Price)</a:t>
            </a:r>
          </a:p>
        </p:txBody>
      </p:sp>
      <p:sp>
        <p:nvSpPr>
          <p:cNvPr id="82" name="TextBox 81">
            <a:extLst>
              <a:ext uri="{FF2B5EF4-FFF2-40B4-BE49-F238E27FC236}">
                <a16:creationId xmlns:a16="http://schemas.microsoft.com/office/drawing/2014/main" id="{AF49989C-4EE2-3995-043E-6BB41D1DFEB2}"/>
              </a:ext>
            </a:extLst>
          </p:cNvPr>
          <p:cNvSpPr txBox="1"/>
          <p:nvPr/>
        </p:nvSpPr>
        <p:spPr>
          <a:xfrm>
            <a:off x="4532693" y="6002822"/>
            <a:ext cx="747143"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Value Shared with Customer</a:t>
            </a:r>
          </a:p>
        </p:txBody>
      </p:sp>
      <p:sp>
        <p:nvSpPr>
          <p:cNvPr id="83" name="TextBox 82">
            <a:extLst>
              <a:ext uri="{FF2B5EF4-FFF2-40B4-BE49-F238E27FC236}">
                <a16:creationId xmlns:a16="http://schemas.microsoft.com/office/drawing/2014/main" id="{DD7EA69A-FD11-BDFF-5E3C-50E8925FFB83}"/>
              </a:ext>
            </a:extLst>
          </p:cNvPr>
          <p:cNvSpPr txBox="1"/>
          <p:nvPr/>
        </p:nvSpPr>
        <p:spPr>
          <a:xfrm>
            <a:off x="5387795" y="6011057"/>
            <a:ext cx="747143"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Target Price</a:t>
            </a:r>
          </a:p>
        </p:txBody>
      </p:sp>
      <p:sp>
        <p:nvSpPr>
          <p:cNvPr id="85" name="TextBox 84">
            <a:extLst>
              <a:ext uri="{FF2B5EF4-FFF2-40B4-BE49-F238E27FC236}">
                <a16:creationId xmlns:a16="http://schemas.microsoft.com/office/drawing/2014/main" id="{7B6F1975-1027-B946-3CC3-3B87EAC2D154}"/>
              </a:ext>
            </a:extLst>
          </p:cNvPr>
          <p:cNvSpPr txBox="1"/>
          <p:nvPr/>
        </p:nvSpPr>
        <p:spPr>
          <a:xfrm>
            <a:off x="2686668" y="4292968"/>
            <a:ext cx="74714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1280</a:t>
            </a:r>
          </a:p>
        </p:txBody>
      </p:sp>
      <p:sp>
        <p:nvSpPr>
          <p:cNvPr id="86" name="TextBox 85">
            <a:extLst>
              <a:ext uri="{FF2B5EF4-FFF2-40B4-BE49-F238E27FC236}">
                <a16:creationId xmlns:a16="http://schemas.microsoft.com/office/drawing/2014/main" id="{2B93365B-917A-0B1E-2D4F-20C1E3AFCFDC}"/>
              </a:ext>
            </a:extLst>
          </p:cNvPr>
          <p:cNvSpPr txBox="1"/>
          <p:nvPr/>
        </p:nvSpPr>
        <p:spPr>
          <a:xfrm>
            <a:off x="3766461" y="4196206"/>
            <a:ext cx="74714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1920</a:t>
            </a:r>
          </a:p>
        </p:txBody>
      </p:sp>
      <p:sp>
        <p:nvSpPr>
          <p:cNvPr id="87" name="TextBox 86">
            <a:extLst>
              <a:ext uri="{FF2B5EF4-FFF2-40B4-BE49-F238E27FC236}">
                <a16:creationId xmlns:a16="http://schemas.microsoft.com/office/drawing/2014/main" id="{E1676B8D-744F-019F-A9E7-07B1F8309F2D}"/>
              </a:ext>
            </a:extLst>
          </p:cNvPr>
          <p:cNvSpPr txBox="1"/>
          <p:nvPr/>
        </p:nvSpPr>
        <p:spPr>
          <a:xfrm>
            <a:off x="5590068" y="5034270"/>
            <a:ext cx="74714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599</a:t>
            </a:r>
          </a:p>
        </p:txBody>
      </p:sp>
      <p:sp>
        <p:nvSpPr>
          <p:cNvPr id="93" name="TextBox 92">
            <a:extLst>
              <a:ext uri="{FF2B5EF4-FFF2-40B4-BE49-F238E27FC236}">
                <a16:creationId xmlns:a16="http://schemas.microsoft.com/office/drawing/2014/main" id="{F16274E2-2531-6B4C-7B8F-F0A8F4A20B06}"/>
              </a:ext>
            </a:extLst>
          </p:cNvPr>
          <p:cNvSpPr txBox="1"/>
          <p:nvPr/>
        </p:nvSpPr>
        <p:spPr>
          <a:xfrm>
            <a:off x="6463637" y="2818383"/>
            <a:ext cx="430357" cy="3145541"/>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yrs</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5</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4</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3</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2</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1</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0</a:t>
            </a:r>
          </a:p>
        </p:txBody>
      </p:sp>
      <p:cxnSp>
        <p:nvCxnSpPr>
          <p:cNvPr id="7" name="Straight Connector 6">
            <a:extLst>
              <a:ext uri="{FF2B5EF4-FFF2-40B4-BE49-F238E27FC236}">
                <a16:creationId xmlns:a16="http://schemas.microsoft.com/office/drawing/2014/main" id="{766B06B4-4512-6CCF-7185-94678C5CCDB5}"/>
              </a:ext>
            </a:extLst>
          </p:cNvPr>
          <p:cNvCxnSpPr>
            <a:cxnSpLocks/>
          </p:cNvCxnSpPr>
          <p:nvPr/>
        </p:nvCxnSpPr>
        <p:spPr>
          <a:xfrm>
            <a:off x="6692919" y="2997432"/>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8E2BE81-3F6F-BDD7-FE68-1D0F29ED1CA1}"/>
              </a:ext>
            </a:extLst>
          </p:cNvPr>
          <p:cNvCxnSpPr>
            <a:cxnSpLocks/>
          </p:cNvCxnSpPr>
          <p:nvPr/>
        </p:nvCxnSpPr>
        <p:spPr>
          <a:xfrm>
            <a:off x="6692919" y="3474017"/>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A33CB1E-48C4-B72C-7F8D-9DAD172410F0}"/>
              </a:ext>
            </a:extLst>
          </p:cNvPr>
          <p:cNvCxnSpPr>
            <a:cxnSpLocks/>
          </p:cNvCxnSpPr>
          <p:nvPr/>
        </p:nvCxnSpPr>
        <p:spPr>
          <a:xfrm>
            <a:off x="6692919" y="3950602"/>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4FEBF98-C292-D466-DA02-D329184EE23F}"/>
              </a:ext>
            </a:extLst>
          </p:cNvPr>
          <p:cNvCxnSpPr>
            <a:cxnSpLocks/>
          </p:cNvCxnSpPr>
          <p:nvPr/>
        </p:nvCxnSpPr>
        <p:spPr>
          <a:xfrm>
            <a:off x="6692919" y="4427187"/>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8D73CF3-2EF3-365D-4CF7-17AB6E6073CA}"/>
              </a:ext>
            </a:extLst>
          </p:cNvPr>
          <p:cNvCxnSpPr>
            <a:cxnSpLocks/>
          </p:cNvCxnSpPr>
          <p:nvPr/>
        </p:nvCxnSpPr>
        <p:spPr>
          <a:xfrm>
            <a:off x="6692919" y="4903772"/>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B8DD2FF-0BA8-B1FF-7509-B627E739097E}"/>
              </a:ext>
            </a:extLst>
          </p:cNvPr>
          <p:cNvCxnSpPr>
            <a:cxnSpLocks/>
          </p:cNvCxnSpPr>
          <p:nvPr/>
        </p:nvCxnSpPr>
        <p:spPr>
          <a:xfrm>
            <a:off x="6692919" y="5380357"/>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EBA03C1-4D87-E77F-3DA3-A489DFECE08A}"/>
              </a:ext>
            </a:extLst>
          </p:cNvPr>
          <p:cNvCxnSpPr>
            <a:cxnSpLocks/>
          </p:cNvCxnSpPr>
          <p:nvPr/>
        </p:nvCxnSpPr>
        <p:spPr>
          <a:xfrm>
            <a:off x="6692919" y="5856942"/>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5B4556D8-D430-517F-0E07-E024B937623D}"/>
              </a:ext>
            </a:extLst>
          </p:cNvPr>
          <p:cNvSpPr txBox="1"/>
          <p:nvPr/>
        </p:nvSpPr>
        <p:spPr>
          <a:xfrm>
            <a:off x="646289" y="2750843"/>
            <a:ext cx="430357" cy="3145541"/>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3</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2.5</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2</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1.5</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1</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0.5</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0</a:t>
            </a:r>
          </a:p>
        </p:txBody>
      </p:sp>
      <p:cxnSp>
        <p:nvCxnSpPr>
          <p:cNvPr id="104" name="Straight Connector 103">
            <a:extLst>
              <a:ext uri="{FF2B5EF4-FFF2-40B4-BE49-F238E27FC236}">
                <a16:creationId xmlns:a16="http://schemas.microsoft.com/office/drawing/2014/main" id="{F0A2BB69-1AEC-3B44-BDA2-20640C11E271}"/>
              </a:ext>
            </a:extLst>
          </p:cNvPr>
          <p:cNvCxnSpPr>
            <a:cxnSpLocks/>
          </p:cNvCxnSpPr>
          <p:nvPr/>
        </p:nvCxnSpPr>
        <p:spPr>
          <a:xfrm>
            <a:off x="1044300" y="2936044"/>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662D5B7-E380-98CF-4166-5B3FA4BA211F}"/>
              </a:ext>
            </a:extLst>
          </p:cNvPr>
          <p:cNvCxnSpPr>
            <a:cxnSpLocks/>
          </p:cNvCxnSpPr>
          <p:nvPr/>
        </p:nvCxnSpPr>
        <p:spPr>
          <a:xfrm>
            <a:off x="1044300" y="3411178"/>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C1528CEA-D8C8-2792-5A16-51B6176219FC}"/>
              </a:ext>
            </a:extLst>
          </p:cNvPr>
          <p:cNvCxnSpPr>
            <a:cxnSpLocks/>
          </p:cNvCxnSpPr>
          <p:nvPr/>
        </p:nvCxnSpPr>
        <p:spPr>
          <a:xfrm>
            <a:off x="1044300" y="3886312"/>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B0CA2A0D-35C8-5F8F-14FB-60C8FBC5FA6B}"/>
              </a:ext>
            </a:extLst>
          </p:cNvPr>
          <p:cNvCxnSpPr>
            <a:cxnSpLocks/>
          </p:cNvCxnSpPr>
          <p:nvPr/>
        </p:nvCxnSpPr>
        <p:spPr>
          <a:xfrm>
            <a:off x="1044300" y="4361446"/>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0A470F4-AB66-DCB3-754D-71595AC3C939}"/>
              </a:ext>
            </a:extLst>
          </p:cNvPr>
          <p:cNvCxnSpPr>
            <a:cxnSpLocks/>
          </p:cNvCxnSpPr>
          <p:nvPr/>
        </p:nvCxnSpPr>
        <p:spPr>
          <a:xfrm>
            <a:off x="1044300" y="4836580"/>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D68E4F3-BEEA-0235-E720-2021D7C821DA}"/>
              </a:ext>
            </a:extLst>
          </p:cNvPr>
          <p:cNvCxnSpPr>
            <a:cxnSpLocks/>
          </p:cNvCxnSpPr>
          <p:nvPr/>
        </p:nvCxnSpPr>
        <p:spPr>
          <a:xfrm>
            <a:off x="1044300" y="5311714"/>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00FB788-CBB4-0259-85CD-908FA8A5DA78}"/>
              </a:ext>
            </a:extLst>
          </p:cNvPr>
          <p:cNvCxnSpPr>
            <a:cxnSpLocks/>
          </p:cNvCxnSpPr>
          <p:nvPr/>
        </p:nvCxnSpPr>
        <p:spPr>
          <a:xfrm>
            <a:off x="1044300" y="5786849"/>
            <a:ext cx="9815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3690C0-2C1D-29BD-299D-F228BBB2D0EE}"/>
              </a:ext>
            </a:extLst>
          </p:cNvPr>
          <p:cNvSpPr txBox="1"/>
          <p:nvPr/>
        </p:nvSpPr>
        <p:spPr>
          <a:xfrm>
            <a:off x="549335" y="1107489"/>
            <a:ext cx="250123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a:ea typeface="+mn-ea"/>
                <a:cs typeface="+mn-cs"/>
              </a:rPr>
              <a:t>*Building with 3 main meters –CEM monitor, $80 Engineer hourly rate</a:t>
            </a:r>
          </a:p>
        </p:txBody>
      </p:sp>
      <p:sp>
        <p:nvSpPr>
          <p:cNvPr id="113" name="TextBox 112">
            <a:extLst>
              <a:ext uri="{FF2B5EF4-FFF2-40B4-BE49-F238E27FC236}">
                <a16:creationId xmlns:a16="http://schemas.microsoft.com/office/drawing/2014/main" id="{E887882B-FD9E-024B-C5D4-69961A87C78B}"/>
              </a:ext>
            </a:extLst>
          </p:cNvPr>
          <p:cNvSpPr txBox="1"/>
          <p:nvPr/>
        </p:nvSpPr>
        <p:spPr>
          <a:xfrm rot="16200000">
            <a:off x="-88998" y="3802347"/>
            <a:ext cx="120310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 </a:t>
            </a:r>
            <a:r>
              <a:rPr kumimoji="0" lang="en-US" sz="1000" b="0" i="0" u="none" strike="noStrike" kern="1200" cap="none" spc="0" normalizeH="0" baseline="0" noProof="0" err="1">
                <a:ln>
                  <a:noFill/>
                </a:ln>
                <a:solidFill>
                  <a:prstClr val="black"/>
                </a:solidFill>
                <a:effectLst/>
                <a:uLnTx/>
                <a:uFillTx/>
                <a:latin typeface="Arial"/>
                <a:ea typeface="+mn-ea"/>
                <a:cs typeface="+mn-cs"/>
              </a:rPr>
              <a:t>kUSD</a:t>
            </a:r>
            <a:r>
              <a:rPr kumimoji="0" lang="en-US" sz="1000" b="0" i="0" u="none" strike="noStrike" kern="1200" cap="none" spc="0" normalizeH="0" baseline="0" noProof="0">
                <a:ln>
                  <a:noFill/>
                </a:ln>
                <a:solidFill>
                  <a:prstClr val="black"/>
                </a:solidFill>
                <a:effectLst/>
                <a:uLnTx/>
                <a:uFillTx/>
                <a:latin typeface="Arial"/>
                <a:ea typeface="+mn-ea"/>
                <a:cs typeface="+mn-cs"/>
              </a:rPr>
              <a:t>)</a:t>
            </a:r>
          </a:p>
        </p:txBody>
      </p:sp>
      <p:sp>
        <p:nvSpPr>
          <p:cNvPr id="9" name="TextBox 8">
            <a:extLst>
              <a:ext uri="{FF2B5EF4-FFF2-40B4-BE49-F238E27FC236}">
                <a16:creationId xmlns:a16="http://schemas.microsoft.com/office/drawing/2014/main" id="{DA53C266-EBA8-3987-8AB7-E29B59C2563D}"/>
              </a:ext>
            </a:extLst>
          </p:cNvPr>
          <p:cNvSpPr txBox="1"/>
          <p:nvPr/>
        </p:nvSpPr>
        <p:spPr>
          <a:xfrm>
            <a:off x="6911291" y="6052070"/>
            <a:ext cx="747143"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n-ea"/>
                <a:cs typeface="+mn-cs"/>
              </a:rPr>
              <a:t>ROI</a:t>
            </a:r>
          </a:p>
        </p:txBody>
      </p:sp>
      <p:sp>
        <p:nvSpPr>
          <p:cNvPr id="10" name="Rectangle: Rounded Corners 9">
            <a:extLst>
              <a:ext uri="{FF2B5EF4-FFF2-40B4-BE49-F238E27FC236}">
                <a16:creationId xmlns:a16="http://schemas.microsoft.com/office/drawing/2014/main" id="{22B4E9E7-9557-CD5C-0C79-A55A044D49EB}"/>
              </a:ext>
            </a:extLst>
          </p:cNvPr>
          <p:cNvSpPr/>
          <p:nvPr/>
        </p:nvSpPr>
        <p:spPr>
          <a:xfrm>
            <a:off x="6920955" y="5529522"/>
            <a:ext cx="466154" cy="32764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71E72DE9-62F9-B103-5F80-E7C4FB9660E2}"/>
              </a:ext>
            </a:extLst>
          </p:cNvPr>
          <p:cNvSpPr txBox="1"/>
          <p:nvPr/>
        </p:nvSpPr>
        <p:spPr>
          <a:xfrm>
            <a:off x="6920955" y="5335901"/>
            <a:ext cx="74714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lt;1 yrs</a:t>
            </a:r>
          </a:p>
        </p:txBody>
      </p:sp>
      <p:graphicFrame>
        <p:nvGraphicFramePr>
          <p:cNvPr id="23" name="Table 23">
            <a:extLst>
              <a:ext uri="{FF2B5EF4-FFF2-40B4-BE49-F238E27FC236}">
                <a16:creationId xmlns:a16="http://schemas.microsoft.com/office/drawing/2014/main" id="{3010344A-AD97-54FE-09B0-3AEDA4F70FB2}"/>
              </a:ext>
            </a:extLst>
          </p:cNvPr>
          <p:cNvGraphicFramePr>
            <a:graphicFrameLocks noGrp="1"/>
          </p:cNvGraphicFramePr>
          <p:nvPr/>
        </p:nvGraphicFramePr>
        <p:xfrm>
          <a:off x="7701113" y="3142954"/>
          <a:ext cx="4288090" cy="1465704"/>
        </p:xfrm>
        <a:graphic>
          <a:graphicData uri="http://schemas.openxmlformats.org/drawingml/2006/table">
            <a:tbl>
              <a:tblPr firstRow="1" bandRow="1">
                <a:tableStyleId>{00A15C55-8517-42AA-B614-E9B94910E393}</a:tableStyleId>
              </a:tblPr>
              <a:tblGrid>
                <a:gridCol w="2144045">
                  <a:extLst>
                    <a:ext uri="{9D8B030D-6E8A-4147-A177-3AD203B41FA5}">
                      <a16:colId xmlns:a16="http://schemas.microsoft.com/office/drawing/2014/main" val="1621302262"/>
                    </a:ext>
                  </a:extLst>
                </a:gridCol>
                <a:gridCol w="2144045">
                  <a:extLst>
                    <a:ext uri="{9D8B030D-6E8A-4147-A177-3AD203B41FA5}">
                      <a16:colId xmlns:a16="http://schemas.microsoft.com/office/drawing/2014/main" val="1628967301"/>
                    </a:ext>
                  </a:extLst>
                </a:gridCol>
              </a:tblGrid>
              <a:tr h="368424">
                <a:tc gridSpan="2">
                  <a:txBody>
                    <a:bodyPr/>
                    <a:lstStyle/>
                    <a:p>
                      <a:r>
                        <a:rPr lang="en-US" sz="1400" b="1" kern="1200">
                          <a:solidFill>
                            <a:prstClr val="black"/>
                          </a:solidFill>
                          <a:latin typeface="Arial"/>
                          <a:ea typeface="+mn-ea"/>
                          <a:cs typeface="+mn-cs"/>
                        </a:rPr>
                        <a:t>SAVINGS vs NBA</a:t>
                      </a:r>
                    </a:p>
                  </a:txBody>
                  <a:tcPr/>
                </a:tc>
                <a:tc hMerge="1">
                  <a:txBody>
                    <a:bodyPr/>
                    <a:lstStyle/>
                    <a:p>
                      <a:endParaRPr lang="en-US"/>
                    </a:p>
                  </a:txBody>
                  <a:tcPr/>
                </a:tc>
                <a:extLst>
                  <a:ext uri="{0D108BD9-81ED-4DB2-BD59-A6C34878D82A}">
                    <a16:rowId xmlns:a16="http://schemas.microsoft.com/office/drawing/2014/main" val="1617782338"/>
                  </a:ext>
                </a:extLst>
              </a:tr>
              <a:tr h="356452">
                <a:tc>
                  <a:txBody>
                    <a:bodyPr/>
                    <a:lstStyle/>
                    <a:p>
                      <a:pPr marL="0" algn="l" defTabSz="914400" rtl="0" eaLnBrk="1" latinLnBrk="0" hangingPunct="1"/>
                      <a:r>
                        <a:rPr lang="en-US" sz="1100" kern="1200">
                          <a:solidFill>
                            <a:schemeClr val="dk1"/>
                          </a:solidFill>
                          <a:latin typeface="+mn-lt"/>
                          <a:ea typeface="+mn-ea"/>
                          <a:cs typeface="+mn-cs"/>
                        </a:rPr>
                        <a:t>Energy &amp; Carbon Reporting</a:t>
                      </a:r>
                    </a:p>
                  </a:txBody>
                  <a:tcPr/>
                </a:tc>
                <a:tc>
                  <a:txBody>
                    <a:bodyPr/>
                    <a:lstStyle/>
                    <a:p>
                      <a:r>
                        <a:rPr lang="en-US"/>
                        <a:t>$ 960</a:t>
                      </a:r>
                    </a:p>
                  </a:txBody>
                  <a:tcPr/>
                </a:tc>
                <a:extLst>
                  <a:ext uri="{0D108BD9-81ED-4DB2-BD59-A6C34878D82A}">
                    <a16:rowId xmlns:a16="http://schemas.microsoft.com/office/drawing/2014/main" val="2267743599"/>
                  </a:ext>
                </a:extLst>
              </a:tr>
              <a:tr h="318280">
                <a:tc>
                  <a:txBody>
                    <a:bodyPr/>
                    <a:lstStyle/>
                    <a:p>
                      <a:pPr marL="0" algn="l" defTabSz="914400" rtl="0" eaLnBrk="1" latinLnBrk="0" hangingPunct="1"/>
                      <a:r>
                        <a:rPr lang="en-US" sz="1100" kern="1200">
                          <a:solidFill>
                            <a:schemeClr val="dk1"/>
                          </a:solidFill>
                          <a:latin typeface="+mn-lt"/>
                          <a:ea typeface="+mn-ea"/>
                          <a:cs typeface="+mn-cs"/>
                        </a:rPr>
                        <a:t>Utility Bill Analysis &amp; Overview</a:t>
                      </a:r>
                    </a:p>
                  </a:txBody>
                  <a:tcPr/>
                </a:tc>
                <a:tc>
                  <a:txBody>
                    <a:bodyPr/>
                    <a:lstStyle/>
                    <a:p>
                      <a:r>
                        <a:rPr lang="en-US"/>
                        <a:t>$ 960</a:t>
                      </a:r>
                    </a:p>
                  </a:txBody>
                  <a:tcPr/>
                </a:tc>
                <a:extLst>
                  <a:ext uri="{0D108BD9-81ED-4DB2-BD59-A6C34878D82A}">
                    <a16:rowId xmlns:a16="http://schemas.microsoft.com/office/drawing/2014/main" val="4047129449"/>
                  </a:ext>
                </a:extLst>
              </a:tr>
              <a:tr h="318280">
                <a:tc>
                  <a:txBody>
                    <a:bodyPr/>
                    <a:lstStyle/>
                    <a:p>
                      <a:pPr marL="0" algn="l" defTabSz="914400" rtl="0" eaLnBrk="1" latinLnBrk="0" hangingPunct="1"/>
                      <a:endParaRPr lang="en-US" sz="1100" kern="1200">
                        <a:solidFill>
                          <a:schemeClr val="dk1"/>
                        </a:solidFill>
                        <a:latin typeface="+mn-lt"/>
                        <a:ea typeface="+mn-ea"/>
                        <a:cs typeface="+mn-cs"/>
                      </a:endParaRPr>
                    </a:p>
                  </a:txBody>
                  <a:tcPr/>
                </a:tc>
                <a:tc>
                  <a:txBody>
                    <a:bodyPr/>
                    <a:lstStyle/>
                    <a:p>
                      <a:r>
                        <a:rPr lang="en-US"/>
                        <a:t>$ 1920</a:t>
                      </a:r>
                    </a:p>
                  </a:txBody>
                  <a:tcPr/>
                </a:tc>
                <a:extLst>
                  <a:ext uri="{0D108BD9-81ED-4DB2-BD59-A6C34878D82A}">
                    <a16:rowId xmlns:a16="http://schemas.microsoft.com/office/drawing/2014/main" val="686229374"/>
                  </a:ext>
                </a:extLst>
              </a:tr>
            </a:tbl>
          </a:graphicData>
        </a:graphic>
      </p:graphicFrame>
      <p:sp>
        <p:nvSpPr>
          <p:cNvPr id="13" name="Title 12">
            <a:extLst>
              <a:ext uri="{FF2B5EF4-FFF2-40B4-BE49-F238E27FC236}">
                <a16:creationId xmlns:a16="http://schemas.microsoft.com/office/drawing/2014/main" id="{F50E9BCD-02E7-FDAE-8C44-D4AACC82C78F}"/>
              </a:ext>
            </a:extLst>
          </p:cNvPr>
          <p:cNvSpPr>
            <a:spLocks noGrp="1"/>
          </p:cNvSpPr>
          <p:nvPr>
            <p:ph type="title"/>
          </p:nvPr>
        </p:nvSpPr>
        <p:spPr>
          <a:xfrm>
            <a:off x="457200" y="210569"/>
            <a:ext cx="11576830" cy="737853"/>
          </a:xfrm>
        </p:spPr>
        <p:txBody>
          <a:bodyPr/>
          <a:lstStyle/>
          <a:p>
            <a:r>
              <a:rPr lang="en-US" cap="none" spc="0">
                <a:latin typeface="Arial Black"/>
                <a:ea typeface="+mn-ea"/>
                <a:cs typeface="+mn-cs"/>
              </a:rPr>
              <a:t>END USER </a:t>
            </a:r>
            <a:r>
              <a:rPr kumimoji="0" lang="en-US" sz="3000" b="1" i="0" u="none" strike="noStrike" kern="1200" cap="none" spc="0" normalizeH="0" baseline="0" noProof="0">
                <a:ln>
                  <a:noFill/>
                </a:ln>
                <a:effectLst/>
                <a:uLnTx/>
                <a:uFillTx/>
                <a:latin typeface="Arial Black"/>
                <a:ea typeface="+mn-ea"/>
                <a:cs typeface="+mn-cs"/>
              </a:rPr>
              <a:t>VALUE WALK </a:t>
            </a:r>
            <a:r>
              <a:rPr lang="en-US" cap="none" spc="0">
                <a:latin typeface="Arial Black"/>
                <a:ea typeface="+mn-ea"/>
                <a:cs typeface="+mn-cs"/>
              </a:rPr>
              <a:t>- </a:t>
            </a:r>
            <a:r>
              <a:rPr kumimoji="0" lang="en-US" sz="3000" b="1" i="0" u="none" strike="noStrike" kern="1200" cap="none" spc="0" normalizeH="0" baseline="0" noProof="0">
                <a:ln>
                  <a:noFill/>
                </a:ln>
                <a:effectLst/>
                <a:uLnTx/>
                <a:uFillTx/>
                <a:latin typeface="Arial Black"/>
                <a:ea typeface="+mn-ea"/>
                <a:cs typeface="+mn-cs"/>
              </a:rPr>
              <a:t>CEM MONITOR USE CASE 1 </a:t>
            </a:r>
            <a:br>
              <a:rPr lang="en-US" sz="3000" b="1" i="0" u="none" strike="noStrike" kern="1200" cap="none" spc="0" normalizeH="0" baseline="0" noProof="0">
                <a:ln>
                  <a:noFill/>
                </a:ln>
                <a:effectLst/>
                <a:uLnTx/>
                <a:uFillTx/>
                <a:latin typeface="Arial Black"/>
                <a:ea typeface="+mn-ea"/>
                <a:cs typeface="+mn-cs"/>
              </a:rPr>
            </a:br>
            <a:br>
              <a:rPr lang="en-US" sz="3000" b="1" i="0" u="none" strike="noStrike" kern="1200" cap="none" spc="0" normalizeH="0" baseline="0" noProof="0">
                <a:ln>
                  <a:noFill/>
                </a:ln>
                <a:effectLst/>
                <a:uLnTx/>
                <a:uFillTx/>
                <a:latin typeface="Arial Black"/>
                <a:ea typeface="+mn-ea"/>
                <a:cs typeface="+mn-cs"/>
              </a:rPr>
            </a:br>
            <a:endParaRPr lang="en-US"/>
          </a:p>
        </p:txBody>
      </p:sp>
      <p:sp>
        <p:nvSpPr>
          <p:cNvPr id="16" name="TextBox 15">
            <a:extLst>
              <a:ext uri="{FF2B5EF4-FFF2-40B4-BE49-F238E27FC236}">
                <a16:creationId xmlns:a16="http://schemas.microsoft.com/office/drawing/2014/main" id="{66A6DC24-E8DA-8D1D-8DB8-5EEFB5B934FA}"/>
              </a:ext>
            </a:extLst>
          </p:cNvPr>
          <p:cNvSpPr txBox="1"/>
          <p:nvPr/>
        </p:nvSpPr>
        <p:spPr>
          <a:xfrm>
            <a:off x="7686756" y="4763289"/>
            <a:ext cx="4372398"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Arial"/>
                <a:ea typeface="+mn-ea"/>
                <a:cs typeface="+mn-cs"/>
              </a:rPr>
              <a:t>Assumption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1 hour spent per month for meter reading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1 hour spent per month for carbon calculations and preparing report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2 hours x 12 months x $80/hour = $1920 in labor costs</a:t>
            </a:r>
          </a:p>
        </p:txBody>
      </p:sp>
      <p:sp>
        <p:nvSpPr>
          <p:cNvPr id="5" name="TextBox 4">
            <a:extLst>
              <a:ext uri="{FF2B5EF4-FFF2-40B4-BE49-F238E27FC236}">
                <a16:creationId xmlns:a16="http://schemas.microsoft.com/office/drawing/2014/main" id="{52D4C08B-FE50-C098-B137-13B814E9F67F}"/>
              </a:ext>
            </a:extLst>
          </p:cNvPr>
          <p:cNvSpPr txBox="1"/>
          <p:nvPr/>
        </p:nvSpPr>
        <p:spPr>
          <a:xfrm>
            <a:off x="4616929" y="4315019"/>
            <a:ext cx="74714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a:ea typeface="+mn-ea"/>
                <a:cs typeface="+mn-cs"/>
              </a:rPr>
              <a:t>$1280</a:t>
            </a:r>
          </a:p>
        </p:txBody>
      </p:sp>
      <p:sp>
        <p:nvSpPr>
          <p:cNvPr id="14" name="TextBox 13">
            <a:extLst>
              <a:ext uri="{FF2B5EF4-FFF2-40B4-BE49-F238E27FC236}">
                <a16:creationId xmlns:a16="http://schemas.microsoft.com/office/drawing/2014/main" id="{7D8000EC-6550-0727-B3AF-206C169EF756}"/>
              </a:ext>
            </a:extLst>
          </p:cNvPr>
          <p:cNvSpPr txBox="1"/>
          <p:nvPr/>
        </p:nvSpPr>
        <p:spPr>
          <a:xfrm>
            <a:off x="7679536" y="1973403"/>
            <a:ext cx="437239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Arial"/>
                <a:ea typeface="+mn-ea"/>
                <a:cs typeface="+mn-cs"/>
              </a:rPr>
              <a:t>NBA Descrip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 facility resource spending time on manually analyzing monthly utility bill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Prepare carbon emission reports and visualization charts</a:t>
            </a:r>
          </a:p>
        </p:txBody>
      </p:sp>
    </p:spTree>
    <p:extLst>
      <p:ext uri="{BB962C8B-B14F-4D97-AF65-F5344CB8AC3E}">
        <p14:creationId xmlns:p14="http://schemas.microsoft.com/office/powerpoint/2010/main" val="12244441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AD978-9115-4FE2-AFF6-DF25478AA5B4}"/>
              </a:ext>
              <a:ext uri="{C183D7F6-B498-43B3-948B-1728B52AA6E4}">
                <adec:decorative xmlns:adec="http://schemas.microsoft.com/office/drawing/2017/decorative" val="0"/>
              </a:ext>
            </a:extLst>
          </p:cNvPr>
          <p:cNvSpPr>
            <a:spLocks noGrp="1"/>
          </p:cNvSpPr>
          <p:nvPr>
            <p:ph type="title"/>
          </p:nvPr>
        </p:nvSpPr>
        <p:spPr/>
        <p:txBody>
          <a:bodyPr/>
          <a:lstStyle/>
          <a:p>
            <a:r>
              <a:rPr lang="en-US" spc="-55">
                <a:cs typeface="Arial Black" panose="020B0604020202020204" pitchFamily="34" charset="0"/>
              </a:rPr>
              <a:t>Connected solutions- </a:t>
            </a:r>
            <a:r>
              <a:rPr lang="en-US" spc="-10">
                <a:cs typeface="Arial Black" panose="020B0604020202020204" pitchFamily="34" charset="0"/>
              </a:rPr>
              <a:t>Overview</a:t>
            </a:r>
            <a:endParaRPr lang="en-US"/>
          </a:p>
        </p:txBody>
      </p:sp>
      <p:sp>
        <p:nvSpPr>
          <p:cNvPr id="3" name="Slide Number Placeholder 2">
            <a:extLst>
              <a:ext uri="{FF2B5EF4-FFF2-40B4-BE49-F238E27FC236}">
                <a16:creationId xmlns:a16="http://schemas.microsoft.com/office/drawing/2014/main" id="{7FE45740-53FD-44A6-AC56-5091FC6AE92E}"/>
              </a:ext>
              <a:ext uri="{C183D7F6-B498-43B3-948B-1728B52AA6E4}">
                <adec:decorative xmlns:adec="http://schemas.microsoft.com/office/drawing/2017/decorative" val="0"/>
              </a:ext>
            </a:extLst>
          </p:cNvPr>
          <p:cNvSpPr>
            <a:spLocks noGrp="1"/>
          </p:cNvSpPr>
          <p:nvPr>
            <p:ph type="sldNum" sz="quarter" idx="12"/>
          </p:nvPr>
        </p:nvSpPr>
        <p:spPr/>
        <p:txBody>
          <a:bodyPr/>
          <a:lstStyle/>
          <a:p>
            <a:fld id="{7B94EC18-1D2B-4535-B738-0E53AFE26620}" type="slidenum">
              <a:rPr lang="en-US" smtClean="0"/>
              <a:t>35</a:t>
            </a:fld>
            <a:endParaRPr lang="en-US"/>
          </a:p>
        </p:txBody>
      </p:sp>
      <p:sp>
        <p:nvSpPr>
          <p:cNvPr id="6" name="TextBox 5">
            <a:extLst>
              <a:ext uri="{FF2B5EF4-FFF2-40B4-BE49-F238E27FC236}">
                <a16:creationId xmlns:a16="http://schemas.microsoft.com/office/drawing/2014/main" id="{F8ACD680-527A-1F55-2218-27D7F82EA655}"/>
              </a:ext>
            </a:extLst>
          </p:cNvPr>
          <p:cNvSpPr txBox="1"/>
          <p:nvPr/>
        </p:nvSpPr>
        <p:spPr>
          <a:xfrm>
            <a:off x="270651" y="4689693"/>
            <a:ext cx="2194560" cy="1015663"/>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45720" tIns="45720" rIns="45720" bIns="45720" rtlCol="0" anchor="ctr">
            <a:spAutoFit/>
          </a:bodyPr>
          <a:lstStyle>
            <a:defPPr>
              <a:defRPr lang="en-US"/>
            </a:defPPr>
            <a:lvl1pPr indent="0" algn="ctr">
              <a:defRPr sz="110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1 Combined Pipe – 3 Form Facto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Remote Manage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100% Native Connecto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Combined HBOC Connector</a:t>
            </a:r>
          </a:p>
        </p:txBody>
      </p:sp>
      <p:sp>
        <p:nvSpPr>
          <p:cNvPr id="7" name="Rectangle: Rounded Corners 6">
            <a:extLst>
              <a:ext uri="{FF2B5EF4-FFF2-40B4-BE49-F238E27FC236}">
                <a16:creationId xmlns:a16="http://schemas.microsoft.com/office/drawing/2014/main" id="{CA5DEE02-C584-6645-ADCD-290219BC590F}"/>
              </a:ext>
            </a:extLst>
          </p:cNvPr>
          <p:cNvSpPr/>
          <p:nvPr/>
        </p:nvSpPr>
        <p:spPr>
          <a:xfrm>
            <a:off x="462707" y="1841510"/>
            <a:ext cx="1709928" cy="274320"/>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Connectivity Strategy</a:t>
            </a:r>
          </a:p>
        </p:txBody>
      </p:sp>
      <p:sp>
        <p:nvSpPr>
          <p:cNvPr id="8" name="TextBox 10">
            <a:extLst>
              <a:ext uri="{FF2B5EF4-FFF2-40B4-BE49-F238E27FC236}">
                <a16:creationId xmlns:a16="http://schemas.microsoft.com/office/drawing/2014/main" id="{A2CBF488-EC4C-2AC7-4494-7F14933151C1}"/>
              </a:ext>
            </a:extLst>
          </p:cNvPr>
          <p:cNvSpPr txBox="1"/>
          <p:nvPr/>
        </p:nvSpPr>
        <p:spPr>
          <a:xfrm>
            <a:off x="220391" y="2263817"/>
            <a:ext cx="2194560" cy="830997"/>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91440" tIns="45720" rIns="0" bIns="45720" rtlCol="0" anchor="ct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Multiple Gateways</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isparate Technologies</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Few Native Connectors</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Separate HBOC Connector</a:t>
            </a:r>
          </a:p>
        </p:txBody>
      </p:sp>
      <p:sp>
        <p:nvSpPr>
          <p:cNvPr id="10" name="Arrow: Down 9">
            <a:extLst>
              <a:ext uri="{FF2B5EF4-FFF2-40B4-BE49-F238E27FC236}">
                <a16:creationId xmlns:a16="http://schemas.microsoft.com/office/drawing/2014/main" id="{47990662-8655-BDEC-A74D-E8F87CD3100C}"/>
              </a:ext>
            </a:extLst>
          </p:cNvPr>
          <p:cNvSpPr/>
          <p:nvPr/>
        </p:nvSpPr>
        <p:spPr>
          <a:xfrm>
            <a:off x="650127" y="4264245"/>
            <a:ext cx="1435608" cy="270171"/>
          </a:xfrm>
          <a:prstGeom prst="downArrow">
            <a:avLst>
              <a:gd name="adj1" fmla="val 4393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D3ED8DCE-72AC-54AC-C5B8-050772406171}"/>
              </a:ext>
            </a:extLst>
          </p:cNvPr>
          <p:cNvSpPr/>
          <p:nvPr/>
        </p:nvSpPr>
        <p:spPr>
          <a:xfrm>
            <a:off x="3777621" y="1496118"/>
            <a:ext cx="2103120" cy="27432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Partner SI Strategy</a:t>
            </a:r>
          </a:p>
        </p:txBody>
      </p:sp>
      <p:sp>
        <p:nvSpPr>
          <p:cNvPr id="12" name="TextBox 28">
            <a:extLst>
              <a:ext uri="{FF2B5EF4-FFF2-40B4-BE49-F238E27FC236}">
                <a16:creationId xmlns:a16="http://schemas.microsoft.com/office/drawing/2014/main" id="{64837C55-D13E-8F08-BF68-C912EA7739F7}"/>
              </a:ext>
            </a:extLst>
          </p:cNvPr>
          <p:cNvSpPr txBox="1"/>
          <p:nvPr/>
        </p:nvSpPr>
        <p:spPr>
          <a:xfrm>
            <a:off x="2578151" y="2244090"/>
            <a:ext cx="2194560" cy="1015663"/>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91440" tIns="45720" rIns="0" bIns="45720" rtlCol="0" anchor="ctr">
            <a:spAutoFit/>
          </a:bodyPr>
          <a:lstStyle>
            <a:defPPr>
              <a:defRPr lang="en-US"/>
            </a:defPPr>
            <a:lvl1pPr indent="0" algn="ctr">
              <a:defRPr sz="110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Multiple Admin Portals</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No Self Serve</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Limited User Management</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Poor Subscription Mgmt.</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isparate Platforms</a:t>
            </a:r>
          </a:p>
        </p:txBody>
      </p:sp>
      <p:sp>
        <p:nvSpPr>
          <p:cNvPr id="13" name="TextBox 30">
            <a:extLst>
              <a:ext uri="{FF2B5EF4-FFF2-40B4-BE49-F238E27FC236}">
                <a16:creationId xmlns:a16="http://schemas.microsoft.com/office/drawing/2014/main" id="{2E66132F-021A-ACB1-27EF-8A954C06665E}"/>
              </a:ext>
            </a:extLst>
          </p:cNvPr>
          <p:cNvSpPr txBox="1"/>
          <p:nvPr/>
        </p:nvSpPr>
        <p:spPr>
          <a:xfrm>
            <a:off x="2628411" y="4697807"/>
            <a:ext cx="2194560" cy="830997"/>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45720" tIns="45720" rIns="45720" bIns="45720" rtlCol="0" anchor="ctr">
            <a:spAutoFit/>
          </a:bodyPr>
          <a:lstStyle>
            <a:defPPr>
              <a:defRPr lang="en-US"/>
            </a:defPPr>
            <a:lvl1pPr marL="171450" indent="-171450">
              <a:buFont typeface="Wingdings" panose="05000000000000000000" pitchFamily="2" charset="2"/>
              <a:buChar char="ü"/>
              <a:defRPr sz="100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Forge Unified Data Fabric</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One Data Lak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Contextualization &amp; Normalization</a:t>
            </a:r>
          </a:p>
        </p:txBody>
      </p:sp>
      <p:sp>
        <p:nvSpPr>
          <p:cNvPr id="14" name="Rectangle: Rounded Corners 13">
            <a:extLst>
              <a:ext uri="{FF2B5EF4-FFF2-40B4-BE49-F238E27FC236}">
                <a16:creationId xmlns:a16="http://schemas.microsoft.com/office/drawing/2014/main" id="{EC0CCFEB-3705-B59E-679D-54BD4AC9D0E9}"/>
              </a:ext>
            </a:extLst>
          </p:cNvPr>
          <p:cNvSpPr/>
          <p:nvPr/>
        </p:nvSpPr>
        <p:spPr>
          <a:xfrm>
            <a:off x="5127968" y="1841510"/>
            <a:ext cx="1709928" cy="27432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Partner Apps</a:t>
            </a:r>
          </a:p>
        </p:txBody>
      </p:sp>
      <p:sp>
        <p:nvSpPr>
          <p:cNvPr id="15" name="TextBox 38">
            <a:extLst>
              <a:ext uri="{FF2B5EF4-FFF2-40B4-BE49-F238E27FC236}">
                <a16:creationId xmlns:a16="http://schemas.microsoft.com/office/drawing/2014/main" id="{F428D3F8-B5AE-FB7A-CB51-F05C240DD8C3}"/>
              </a:ext>
            </a:extLst>
          </p:cNvPr>
          <p:cNvSpPr txBox="1"/>
          <p:nvPr/>
        </p:nvSpPr>
        <p:spPr>
          <a:xfrm>
            <a:off x="4885652" y="2258941"/>
            <a:ext cx="2194560" cy="1200329"/>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91440" tIns="45720" rIns="0" bIns="45720" rtlCol="0" anchor="ctr">
            <a:spAutoFit/>
          </a:bodyPr>
          <a:lstStyle>
            <a:defPPr>
              <a:defRPr lang="en-US"/>
            </a:defPPr>
            <a:lvl1pPr indent="0" algn="ctr">
              <a:defRPr sz="110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Independent Connectors</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Multiple Independent Apps</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Limited Domain Specific Apps</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No Partner Value Creation Model</a:t>
            </a:r>
          </a:p>
        </p:txBody>
      </p:sp>
      <p:sp>
        <p:nvSpPr>
          <p:cNvPr id="16" name="TextBox 53">
            <a:extLst>
              <a:ext uri="{FF2B5EF4-FFF2-40B4-BE49-F238E27FC236}">
                <a16:creationId xmlns:a16="http://schemas.microsoft.com/office/drawing/2014/main" id="{E2F75CD5-996A-F50A-1CE9-9F677BF8F4EB}"/>
              </a:ext>
            </a:extLst>
          </p:cNvPr>
          <p:cNvSpPr txBox="1"/>
          <p:nvPr/>
        </p:nvSpPr>
        <p:spPr>
          <a:xfrm>
            <a:off x="4935912" y="4681582"/>
            <a:ext cx="2194560" cy="1200329"/>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45720" tIns="45720" rIns="45720" bIns="45720" rtlCol="0" anchor="ctr">
            <a:spAutoFit/>
          </a:bodyPr>
          <a:lstStyle>
            <a:defPPr>
              <a:defRPr lang="en-US"/>
            </a:defPPr>
            <a:lvl1pPr marL="171450" indent="-171450">
              <a:buFont typeface="Wingdings" panose="05000000000000000000" pitchFamily="2" charset="2"/>
              <a:buChar char="ü"/>
              <a:defRPr sz="100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Integrated Remote Manag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People + AI) Managed Servic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omain Specific Capabilit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Merge Maintenance Assist</a:t>
            </a:r>
          </a:p>
        </p:txBody>
      </p:sp>
      <p:sp>
        <p:nvSpPr>
          <p:cNvPr id="17" name="Rectangle: Rounded Corners 16">
            <a:extLst>
              <a:ext uri="{FF2B5EF4-FFF2-40B4-BE49-F238E27FC236}">
                <a16:creationId xmlns:a16="http://schemas.microsoft.com/office/drawing/2014/main" id="{BAE66287-2AF4-B8F1-F452-A5D658EAA7A7}"/>
              </a:ext>
            </a:extLst>
          </p:cNvPr>
          <p:cNvSpPr/>
          <p:nvPr/>
        </p:nvSpPr>
        <p:spPr>
          <a:xfrm>
            <a:off x="2820467" y="1841511"/>
            <a:ext cx="1709928" cy="27432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Partner Portal</a:t>
            </a:r>
          </a:p>
        </p:txBody>
      </p:sp>
      <p:pic>
        <p:nvPicPr>
          <p:cNvPr id="18" name="Graphic 17" descr="Add with solid fill">
            <a:extLst>
              <a:ext uri="{FF2B5EF4-FFF2-40B4-BE49-F238E27FC236}">
                <a16:creationId xmlns:a16="http://schemas.microsoft.com/office/drawing/2014/main" id="{0E7A3650-1040-BAF6-305D-1A60957C3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80159" y="3622661"/>
            <a:ext cx="548640" cy="548640"/>
          </a:xfrm>
          <a:prstGeom prst="rect">
            <a:avLst/>
          </a:prstGeom>
        </p:spPr>
      </p:pic>
      <p:sp>
        <p:nvSpPr>
          <p:cNvPr id="19" name="Arrow: Down 18">
            <a:extLst>
              <a:ext uri="{FF2B5EF4-FFF2-40B4-BE49-F238E27FC236}">
                <a16:creationId xmlns:a16="http://schemas.microsoft.com/office/drawing/2014/main" id="{0CD7CC74-1E9C-12AD-F93F-65129DB3EB59}"/>
              </a:ext>
            </a:extLst>
          </p:cNvPr>
          <p:cNvSpPr/>
          <p:nvPr/>
        </p:nvSpPr>
        <p:spPr>
          <a:xfrm>
            <a:off x="2979623" y="4264245"/>
            <a:ext cx="1435608" cy="270171"/>
          </a:xfrm>
          <a:prstGeom prst="downArrow">
            <a:avLst>
              <a:gd name="adj1" fmla="val 4393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29EDFC7B-5914-B6B2-1D26-B8CE71F5032A}"/>
              </a:ext>
            </a:extLst>
          </p:cNvPr>
          <p:cNvSpPr/>
          <p:nvPr/>
        </p:nvSpPr>
        <p:spPr>
          <a:xfrm>
            <a:off x="5290027" y="4264245"/>
            <a:ext cx="1435608" cy="270171"/>
          </a:xfrm>
          <a:prstGeom prst="downArrow">
            <a:avLst>
              <a:gd name="adj1" fmla="val 4393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1" name="Rectangle: Rounded Corners 20">
            <a:extLst>
              <a:ext uri="{FF2B5EF4-FFF2-40B4-BE49-F238E27FC236}">
                <a16:creationId xmlns:a16="http://schemas.microsoft.com/office/drawing/2014/main" id="{5EDFDE93-E01F-DA5D-F709-DF640701D8D2}"/>
              </a:ext>
            </a:extLst>
          </p:cNvPr>
          <p:cNvSpPr/>
          <p:nvPr/>
        </p:nvSpPr>
        <p:spPr>
          <a:xfrm>
            <a:off x="7221892" y="1496118"/>
            <a:ext cx="2103120" cy="27432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End User Strategy</a:t>
            </a:r>
          </a:p>
        </p:txBody>
      </p:sp>
      <p:sp>
        <p:nvSpPr>
          <p:cNvPr id="22" name="TextBox 55">
            <a:extLst>
              <a:ext uri="{FF2B5EF4-FFF2-40B4-BE49-F238E27FC236}">
                <a16:creationId xmlns:a16="http://schemas.microsoft.com/office/drawing/2014/main" id="{F3EE3E6B-8B5B-5A3D-8842-6A37DF9300FB}"/>
              </a:ext>
            </a:extLst>
          </p:cNvPr>
          <p:cNvSpPr txBox="1"/>
          <p:nvPr/>
        </p:nvSpPr>
        <p:spPr>
          <a:xfrm>
            <a:off x="7221892" y="2272883"/>
            <a:ext cx="2103120" cy="461665"/>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91440" tIns="45720" rIns="0" bIns="45720" rtlCol="0" anchor="ctr">
            <a:spAutoFit/>
          </a:bodyPr>
          <a:lstStyle>
            <a:defPPr>
              <a:defRPr lang="en-US"/>
            </a:defPPr>
            <a:lvl1pPr marL="171450" indent="-171450">
              <a:buSzPct val="150000"/>
              <a:buBlip>
                <a:blip r:embed="rId2">
                  <a:extLst>
                    <a:ext uri="{96DAC541-7B7A-43D3-8B79-37D633B846F1}">
                      <asvg:svgBlip xmlns:asvg="http://schemas.microsoft.com/office/drawing/2016/SVG/main" r:embed="rId3"/>
                    </a:ext>
                  </a:extLst>
                </a:blip>
              </a:buBlip>
              <a:defRPr sz="100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Unclear Value</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Tedious Deployment</a:t>
            </a:r>
          </a:p>
        </p:txBody>
      </p:sp>
      <p:sp>
        <p:nvSpPr>
          <p:cNvPr id="23" name="Rectangle: Rounded Corners 22">
            <a:extLst>
              <a:ext uri="{FF2B5EF4-FFF2-40B4-BE49-F238E27FC236}">
                <a16:creationId xmlns:a16="http://schemas.microsoft.com/office/drawing/2014/main" id="{C7C62812-5362-180B-8BDC-503627528B32}"/>
              </a:ext>
            </a:extLst>
          </p:cNvPr>
          <p:cNvSpPr/>
          <p:nvPr/>
        </p:nvSpPr>
        <p:spPr>
          <a:xfrm>
            <a:off x="7418488" y="1841510"/>
            <a:ext cx="1709928" cy="28575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FORGE APPS</a:t>
            </a:r>
          </a:p>
        </p:txBody>
      </p:sp>
      <p:sp>
        <p:nvSpPr>
          <p:cNvPr id="24" name="TextBox 58">
            <a:extLst>
              <a:ext uri="{FF2B5EF4-FFF2-40B4-BE49-F238E27FC236}">
                <a16:creationId xmlns:a16="http://schemas.microsoft.com/office/drawing/2014/main" id="{583C5D40-9A26-DB5D-DF16-35DB7E9D3F28}"/>
              </a:ext>
            </a:extLst>
          </p:cNvPr>
          <p:cNvSpPr txBox="1"/>
          <p:nvPr/>
        </p:nvSpPr>
        <p:spPr>
          <a:xfrm>
            <a:off x="7272152" y="4661713"/>
            <a:ext cx="2103120" cy="830997"/>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45720" tIns="45720" rIns="45720" bIns="45720" rtlCol="0" anchor="ctr">
            <a:spAutoFit/>
          </a:bodyPr>
          <a:lstStyle>
            <a:defPPr>
              <a:defRPr lang="en-US"/>
            </a:defPPr>
            <a:lvl1pPr marL="171450" indent="-171450">
              <a:buFont typeface="Wingdings" panose="05000000000000000000" pitchFamily="2" charset="2"/>
              <a:buChar char="ü"/>
              <a:defRPr sz="100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Outcome Oriented Applic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Value Pricing Mod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On Demand Delivery</a:t>
            </a:r>
          </a:p>
        </p:txBody>
      </p:sp>
      <p:sp>
        <p:nvSpPr>
          <p:cNvPr id="25" name="Rectangle: Rounded Corners 24">
            <a:extLst>
              <a:ext uri="{FF2B5EF4-FFF2-40B4-BE49-F238E27FC236}">
                <a16:creationId xmlns:a16="http://schemas.microsoft.com/office/drawing/2014/main" id="{456013CA-D75A-8375-94C9-DA2D2377979F}"/>
              </a:ext>
            </a:extLst>
          </p:cNvPr>
          <p:cNvSpPr/>
          <p:nvPr/>
        </p:nvSpPr>
        <p:spPr>
          <a:xfrm>
            <a:off x="9563764" y="1496118"/>
            <a:ext cx="2103120" cy="27432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No-BMS Strategy</a:t>
            </a:r>
          </a:p>
        </p:txBody>
      </p:sp>
      <p:sp>
        <p:nvSpPr>
          <p:cNvPr id="26" name="Rectangle: Rounded Corners 25">
            <a:extLst>
              <a:ext uri="{FF2B5EF4-FFF2-40B4-BE49-F238E27FC236}">
                <a16:creationId xmlns:a16="http://schemas.microsoft.com/office/drawing/2014/main" id="{E73939EB-FF2C-A064-3071-B0E6A5564CF7}"/>
              </a:ext>
            </a:extLst>
          </p:cNvPr>
          <p:cNvSpPr/>
          <p:nvPr/>
        </p:nvSpPr>
        <p:spPr>
          <a:xfrm>
            <a:off x="9760360" y="1841510"/>
            <a:ext cx="1709928" cy="28575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SMB IOT</a:t>
            </a:r>
          </a:p>
        </p:txBody>
      </p:sp>
      <p:sp>
        <p:nvSpPr>
          <p:cNvPr id="27" name="TextBox 1045">
            <a:extLst>
              <a:ext uri="{FF2B5EF4-FFF2-40B4-BE49-F238E27FC236}">
                <a16:creationId xmlns:a16="http://schemas.microsoft.com/office/drawing/2014/main" id="{E4C1DDA7-E91A-33B9-1701-CE3CB6F7B49C}"/>
              </a:ext>
            </a:extLst>
          </p:cNvPr>
          <p:cNvSpPr txBox="1"/>
          <p:nvPr/>
        </p:nvSpPr>
        <p:spPr>
          <a:xfrm>
            <a:off x="9563764" y="2197338"/>
            <a:ext cx="2103120" cy="646331"/>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91440" tIns="45720" rIns="0" bIns="45720" rtlCol="0" anchor="ctr">
            <a:spAutoFit/>
          </a:bodyPr>
          <a:lstStyle>
            <a:defPPr>
              <a:defRPr lang="en-US"/>
            </a:defPPr>
            <a:lvl1pPr marL="171450" indent="-171450">
              <a:buSzPct val="150000"/>
              <a:buBlip>
                <a:blip r:embed="rId2">
                  <a:extLst>
                    <a:ext uri="{96DAC541-7B7A-43D3-8B79-37D633B846F1}">
                      <asvg:svgBlip xmlns:asvg="http://schemas.microsoft.com/office/drawing/2016/SVG/main" r:embed="rId3"/>
                    </a:ext>
                  </a:extLst>
                </a:blip>
              </a:buBlip>
              <a:defRPr sz="100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isparate Products</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Poor UX</a:t>
            </a:r>
          </a:p>
          <a:p>
            <a:pPr marL="171450" marR="0" lvl="0" indent="-171450" algn="l" defTabSz="914400" rtl="0" eaLnBrk="1" fontAlgn="auto" latinLnBrk="0" hangingPunct="1">
              <a:lnSpc>
                <a:spcPct val="100000"/>
              </a:lnSpc>
              <a:spcBef>
                <a:spcPts val="0"/>
              </a:spcBef>
              <a:spcAft>
                <a:spcPts val="0"/>
              </a:spcAft>
              <a:buClrTx/>
              <a:buSzPct val="150000"/>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Outdated Tech</a:t>
            </a:r>
          </a:p>
        </p:txBody>
      </p:sp>
      <p:sp>
        <p:nvSpPr>
          <p:cNvPr id="28" name="TextBox 1047">
            <a:extLst>
              <a:ext uri="{FF2B5EF4-FFF2-40B4-BE49-F238E27FC236}">
                <a16:creationId xmlns:a16="http://schemas.microsoft.com/office/drawing/2014/main" id="{DB6D284D-AFA9-B2EB-D48A-41B2CBE67617}"/>
              </a:ext>
            </a:extLst>
          </p:cNvPr>
          <p:cNvSpPr txBox="1"/>
          <p:nvPr/>
        </p:nvSpPr>
        <p:spPr>
          <a:xfrm>
            <a:off x="9614024" y="4673740"/>
            <a:ext cx="2103120" cy="830997"/>
          </a:xfrm>
          <a:prstGeom prst="rect">
            <a:avLst/>
          </a:prstGeom>
          <a:solidFill>
            <a:schemeClr val="lt1"/>
          </a:solidFill>
          <a:ln w="9525" cmpd="sng">
            <a:noFill/>
          </a:ln>
          <a:effectLst>
            <a:outerShdw blurRad="63500" sx="101000" sy="101000" algn="ctr" rotWithShape="0">
              <a:prstClr val="black">
                <a:alpha val="40000"/>
              </a:prstClr>
            </a:outerShdw>
          </a:effectLst>
        </p:spPr>
        <p:style>
          <a:lnRef idx="0">
            <a:scrgbClr r="0" g="0" b="0"/>
          </a:lnRef>
          <a:fillRef idx="0">
            <a:scrgbClr r="0" g="0" b="0"/>
          </a:fillRef>
          <a:effectRef idx="0">
            <a:scrgbClr r="0" g="0" b="0"/>
          </a:effectRef>
          <a:fontRef idx="minor">
            <a:schemeClr val="dk1"/>
          </a:fontRef>
        </p:style>
        <p:txBody>
          <a:bodyPr wrap="square" lIns="45720" tIns="45720" rIns="45720" bIns="45720" rtlCol="0" anchor="ctr">
            <a:spAutoFit/>
          </a:bodyPr>
          <a:lstStyle>
            <a:defPPr>
              <a:defRPr lang="en-US"/>
            </a:defPPr>
            <a:lvl1pPr marL="171450" indent="-171450">
              <a:buFont typeface="Wingdings" panose="05000000000000000000" pitchFamily="2" charset="2"/>
              <a:buChar char="ü"/>
              <a:defRPr sz="100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Wireless led - Mobile Firs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immed Down DIY Deploy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Mobile App Cloud based</a:t>
            </a:r>
          </a:p>
        </p:txBody>
      </p:sp>
      <p:sp>
        <p:nvSpPr>
          <p:cNvPr id="29" name="Arrow: Down 28">
            <a:extLst>
              <a:ext uri="{FF2B5EF4-FFF2-40B4-BE49-F238E27FC236}">
                <a16:creationId xmlns:a16="http://schemas.microsoft.com/office/drawing/2014/main" id="{E4895A1D-449A-6614-D34B-4D115F3123ED}"/>
              </a:ext>
            </a:extLst>
          </p:cNvPr>
          <p:cNvSpPr/>
          <p:nvPr/>
        </p:nvSpPr>
        <p:spPr>
          <a:xfrm>
            <a:off x="7774536" y="4264245"/>
            <a:ext cx="1435608" cy="270171"/>
          </a:xfrm>
          <a:prstGeom prst="downArrow">
            <a:avLst>
              <a:gd name="adj1" fmla="val 4393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115DF084-6A0A-EE75-8EA6-AE968C3B539F}"/>
              </a:ext>
            </a:extLst>
          </p:cNvPr>
          <p:cNvSpPr/>
          <p:nvPr/>
        </p:nvSpPr>
        <p:spPr>
          <a:xfrm>
            <a:off x="10084940" y="4264245"/>
            <a:ext cx="1435608" cy="270171"/>
          </a:xfrm>
          <a:prstGeom prst="downArrow">
            <a:avLst>
              <a:gd name="adj1" fmla="val 4393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31" name="Arrow: Left 30">
            <a:extLst>
              <a:ext uri="{FF2B5EF4-FFF2-40B4-BE49-F238E27FC236}">
                <a16:creationId xmlns:a16="http://schemas.microsoft.com/office/drawing/2014/main" id="{39EAD78E-4664-CEC1-0F1C-D101BE382329}"/>
              </a:ext>
            </a:extLst>
          </p:cNvPr>
          <p:cNvSpPr/>
          <p:nvPr/>
        </p:nvSpPr>
        <p:spPr>
          <a:xfrm>
            <a:off x="5880741" y="981615"/>
            <a:ext cx="6018835" cy="457200"/>
          </a:xfrm>
          <a:prstGeom prst="leftArrow">
            <a:avLst>
              <a:gd name="adj1" fmla="val 50000"/>
              <a:gd name="adj2" fmla="val 78571"/>
            </a:avLst>
          </a:prstGeom>
          <a:solidFill>
            <a:schemeClr val="bg1">
              <a:lumMod val="85000"/>
            </a:schemeClr>
          </a:solidFill>
          <a:ln>
            <a:solidFill>
              <a:schemeClr val="bg1"/>
            </a:solidFill>
          </a:ln>
          <a:effectLst>
            <a:outerShdw blurRad="63500" sx="101000" sy="101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a:ea typeface="+mn-ea"/>
                <a:cs typeface="+mn-cs"/>
              </a:rPr>
              <a:t>MONETIZATION</a:t>
            </a:r>
          </a:p>
        </p:txBody>
      </p:sp>
      <p:sp>
        <p:nvSpPr>
          <p:cNvPr id="32" name="Arrow: Right 31">
            <a:extLst>
              <a:ext uri="{FF2B5EF4-FFF2-40B4-BE49-F238E27FC236}">
                <a16:creationId xmlns:a16="http://schemas.microsoft.com/office/drawing/2014/main" id="{5D6A46C2-1CDD-D95D-3B0A-3A9B86BD6B44}"/>
              </a:ext>
            </a:extLst>
          </p:cNvPr>
          <p:cNvSpPr/>
          <p:nvPr/>
        </p:nvSpPr>
        <p:spPr>
          <a:xfrm>
            <a:off x="220390" y="899058"/>
            <a:ext cx="6910082" cy="554907"/>
          </a:xfrm>
          <a:prstGeom prst="rightArrow">
            <a:avLst>
              <a:gd name="adj1" fmla="val 50000"/>
              <a:gd name="adj2" fmla="val 83333"/>
            </a:avLst>
          </a:prstGeom>
          <a:solidFill>
            <a:schemeClr val="accent1"/>
          </a:solidFill>
          <a:ln>
            <a:solidFill>
              <a:schemeClr val="bg1"/>
            </a:solidFill>
          </a:ln>
          <a:effectLst>
            <a:outerShdw blurRad="63500" sx="101000" sy="101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a:ea typeface="+mn-ea"/>
                <a:cs typeface="+mn-cs"/>
              </a:rPr>
              <a:t>DIGITIZATION</a:t>
            </a:r>
          </a:p>
        </p:txBody>
      </p:sp>
    </p:spTree>
    <p:extLst>
      <p:ext uri="{BB962C8B-B14F-4D97-AF65-F5344CB8AC3E}">
        <p14:creationId xmlns:p14="http://schemas.microsoft.com/office/powerpoint/2010/main" val="3630418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A2635-756F-6A87-229A-ECCA22671467}"/>
            </a:ext>
          </a:extLst>
        </p:cNvPr>
        <p:cNvGrpSpPr/>
        <p:nvPr/>
      </p:nvGrpSpPr>
      <p:grpSpPr>
        <a:xfrm>
          <a:off x="0" y="0"/>
          <a:ext cx="0" cy="0"/>
          <a:chOff x="0" y="0"/>
          <a:chExt cx="0" cy="0"/>
        </a:xfrm>
      </p:grpSpPr>
      <p:sp>
        <p:nvSpPr>
          <p:cNvPr id="4" name="Rectangle 3" hidden="1">
            <a:extLst>
              <a:ext uri="{FF2B5EF4-FFF2-40B4-BE49-F238E27FC236}">
                <a16:creationId xmlns:a16="http://schemas.microsoft.com/office/drawing/2014/main" id="{6CC03AC0-328D-9E28-A89D-230865C1EE2B}"/>
              </a:ext>
              <a:ext uri="{C183D7F6-B498-43B3-948B-1728B52AA6E4}">
                <adec:decorative xmlns:adec="http://schemas.microsoft.com/office/drawing/2017/decorative" val="1"/>
              </a:ext>
            </a:extLst>
          </p:cNvPr>
          <p:cNvSpPr/>
          <p:nvPr>
            <p:custDataLst>
              <p:tags r:id="rId1"/>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Slide Number Placeholder 6">
            <a:extLst>
              <a:ext uri="{FF2B5EF4-FFF2-40B4-BE49-F238E27FC236}">
                <a16:creationId xmlns:a16="http://schemas.microsoft.com/office/drawing/2014/main" id="{DCA11A90-4D21-819E-CFBA-B40B227E9A9F}"/>
              </a:ext>
              <a:ext uri="{C183D7F6-B498-43B3-948B-1728B52AA6E4}">
                <adec:decorative xmlns:adec="http://schemas.microsoft.com/office/drawing/2017/decorative" val="1"/>
              </a:ext>
            </a:extLst>
          </p:cNvPr>
          <p:cNvSpPr>
            <a:spLocks noGrp="1"/>
          </p:cNvSpPr>
          <p:nvPr>
            <p:ph type="sldNum" sz="quarter" idx="12"/>
          </p:nvPr>
        </p:nvSpPr>
        <p:spPr/>
        <p:txBody>
          <a:bodyPr/>
          <a:lstStyle/>
          <a:p>
            <a:fld id="{7B94EC18-1D2B-4535-B738-0E53AFE26620}" type="slidenum">
              <a:rPr lang="en-US" smtClean="0"/>
              <a:t>36</a:t>
            </a:fld>
            <a:endParaRPr lang="en-US"/>
          </a:p>
        </p:txBody>
      </p:sp>
      <p:sp>
        <p:nvSpPr>
          <p:cNvPr id="13" name="Title 12">
            <a:extLst>
              <a:ext uri="{FF2B5EF4-FFF2-40B4-BE49-F238E27FC236}">
                <a16:creationId xmlns:a16="http://schemas.microsoft.com/office/drawing/2014/main" id="{F25FDA32-2481-723A-A124-4CC1B2F9BE1F}"/>
              </a:ext>
            </a:extLst>
          </p:cNvPr>
          <p:cNvSpPr>
            <a:spLocks noGrp="1"/>
          </p:cNvSpPr>
          <p:nvPr>
            <p:ph type="title"/>
          </p:nvPr>
        </p:nvSpPr>
        <p:spPr>
          <a:xfrm>
            <a:off x="358819" y="371230"/>
            <a:ext cx="11446494" cy="443198"/>
          </a:xfrm>
        </p:spPr>
        <p:txBody>
          <a:bodyPr/>
          <a:lstStyle/>
          <a:p>
            <a:pPr>
              <a:lnSpc>
                <a:spcPct val="90000"/>
              </a:lnSpc>
              <a:spcBef>
                <a:spcPts val="0"/>
              </a:spcBef>
              <a:buClr>
                <a:srgbClr val="D22630"/>
              </a:buClr>
            </a:pPr>
            <a:r>
              <a:rPr lang="en-US" spc="-20">
                <a:cs typeface="Arial Black" panose="020B0604020202020204" pitchFamily="34" charset="0"/>
              </a:rPr>
              <a:t>Value</a:t>
            </a:r>
            <a:r>
              <a:rPr lang="en-US" spc="-15">
                <a:cs typeface="Arial Black" panose="020B0604020202020204" pitchFamily="34" charset="0"/>
              </a:rPr>
              <a:t> </a:t>
            </a:r>
            <a:r>
              <a:rPr lang="en-US" spc="-10">
                <a:cs typeface="Arial Black" panose="020B0604020202020204" pitchFamily="34" charset="0"/>
              </a:rPr>
              <a:t>Proposition: Partners</a:t>
            </a:r>
          </a:p>
        </p:txBody>
      </p:sp>
      <p:sp>
        <p:nvSpPr>
          <p:cNvPr id="2" name="Rectangle 1">
            <a:extLst>
              <a:ext uri="{FF2B5EF4-FFF2-40B4-BE49-F238E27FC236}">
                <a16:creationId xmlns:a16="http://schemas.microsoft.com/office/drawing/2014/main" id="{5DFA0C55-413D-5B9D-B87F-C6D41224B2C5}"/>
              </a:ext>
            </a:extLst>
          </p:cNvPr>
          <p:cNvSpPr/>
          <p:nvPr/>
        </p:nvSpPr>
        <p:spPr>
          <a:xfrm>
            <a:off x="741141" y="1017911"/>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For</a:t>
            </a:r>
          </a:p>
        </p:txBody>
      </p:sp>
      <p:sp>
        <p:nvSpPr>
          <p:cNvPr id="5" name="Oval 4">
            <a:extLst>
              <a:ext uri="{FF2B5EF4-FFF2-40B4-BE49-F238E27FC236}">
                <a16:creationId xmlns:a16="http://schemas.microsoft.com/office/drawing/2014/main" id="{AF04A80D-0D51-66A3-B78C-EFA60D0EDA66}"/>
              </a:ext>
            </a:extLst>
          </p:cNvPr>
          <p:cNvSpPr/>
          <p:nvPr/>
        </p:nvSpPr>
        <p:spPr>
          <a:xfrm>
            <a:off x="464525" y="99562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1</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D3738601-7571-86B1-4FC3-A74F3A0E4F01}"/>
              </a:ext>
            </a:extLst>
          </p:cNvPr>
          <p:cNvSpPr/>
          <p:nvPr/>
        </p:nvSpPr>
        <p:spPr>
          <a:xfrm>
            <a:off x="714623" y="5281452"/>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  as proven by</a:t>
            </a:r>
          </a:p>
        </p:txBody>
      </p:sp>
      <p:sp>
        <p:nvSpPr>
          <p:cNvPr id="8" name="Oval 7">
            <a:extLst>
              <a:ext uri="{FF2B5EF4-FFF2-40B4-BE49-F238E27FC236}">
                <a16:creationId xmlns:a16="http://schemas.microsoft.com/office/drawing/2014/main" id="{EA594568-55FA-5496-B531-1BE70771667D}"/>
              </a:ext>
            </a:extLst>
          </p:cNvPr>
          <p:cNvSpPr/>
          <p:nvPr/>
        </p:nvSpPr>
        <p:spPr>
          <a:xfrm>
            <a:off x="464525" y="528145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7</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138B1454-DCA7-A05C-442D-42C31E770573}"/>
              </a:ext>
            </a:extLst>
          </p:cNvPr>
          <p:cNvSpPr/>
          <p:nvPr/>
        </p:nvSpPr>
        <p:spPr>
          <a:xfrm>
            <a:off x="714623" y="4546828"/>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 We do this by</a:t>
            </a:r>
          </a:p>
        </p:txBody>
      </p:sp>
      <p:sp>
        <p:nvSpPr>
          <p:cNvPr id="10" name="Oval 9">
            <a:extLst>
              <a:ext uri="{FF2B5EF4-FFF2-40B4-BE49-F238E27FC236}">
                <a16:creationId xmlns:a16="http://schemas.microsoft.com/office/drawing/2014/main" id="{9CFA9D9C-A784-4699-8320-299F51FED7CF}"/>
              </a:ext>
            </a:extLst>
          </p:cNvPr>
          <p:cNvSpPr/>
          <p:nvPr/>
        </p:nvSpPr>
        <p:spPr>
          <a:xfrm>
            <a:off x="464525" y="454894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6</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EE047AB7-B38E-3757-C4C2-760C3DB5313B}"/>
              </a:ext>
            </a:extLst>
          </p:cNvPr>
          <p:cNvSpPr/>
          <p:nvPr/>
        </p:nvSpPr>
        <p:spPr>
          <a:xfrm>
            <a:off x="714623" y="3083732"/>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provides $X</a:t>
            </a:r>
          </a:p>
        </p:txBody>
      </p:sp>
      <p:sp>
        <p:nvSpPr>
          <p:cNvPr id="12" name="Oval 11">
            <a:extLst>
              <a:ext uri="{FF2B5EF4-FFF2-40B4-BE49-F238E27FC236}">
                <a16:creationId xmlns:a16="http://schemas.microsoft.com/office/drawing/2014/main" id="{99658C24-2AFF-BFC1-4A8A-1AF4115EA653}"/>
              </a:ext>
            </a:extLst>
          </p:cNvPr>
          <p:cNvSpPr/>
          <p:nvPr/>
        </p:nvSpPr>
        <p:spPr>
          <a:xfrm>
            <a:off x="464525" y="308392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4</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263FF0B4-74F3-DCD4-2FD1-2BEF9F76899E}"/>
              </a:ext>
            </a:extLst>
          </p:cNvPr>
          <p:cNvSpPr/>
          <p:nvPr/>
        </p:nvSpPr>
        <p:spPr>
          <a:xfrm>
            <a:off x="714623" y="2352184"/>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Honeywell’s</a:t>
            </a:r>
          </a:p>
        </p:txBody>
      </p:sp>
      <p:sp>
        <p:nvSpPr>
          <p:cNvPr id="16" name="Oval 15">
            <a:extLst>
              <a:ext uri="{FF2B5EF4-FFF2-40B4-BE49-F238E27FC236}">
                <a16:creationId xmlns:a16="http://schemas.microsoft.com/office/drawing/2014/main" id="{34B09AEC-FF2D-664D-F529-B7C4C18CBFF3}"/>
              </a:ext>
            </a:extLst>
          </p:cNvPr>
          <p:cNvSpPr/>
          <p:nvPr/>
        </p:nvSpPr>
        <p:spPr>
          <a:xfrm>
            <a:off x="464525" y="235141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3</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2564C36-DC23-5739-CCC0-A2DFF6106CF6}"/>
              </a:ext>
            </a:extLst>
          </p:cNvPr>
          <p:cNvSpPr/>
          <p:nvPr/>
        </p:nvSpPr>
        <p:spPr>
          <a:xfrm>
            <a:off x="714623" y="3815280"/>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unlike</a:t>
            </a:r>
          </a:p>
        </p:txBody>
      </p:sp>
      <p:sp>
        <p:nvSpPr>
          <p:cNvPr id="18" name="Oval 17">
            <a:extLst>
              <a:ext uri="{FF2B5EF4-FFF2-40B4-BE49-F238E27FC236}">
                <a16:creationId xmlns:a16="http://schemas.microsoft.com/office/drawing/2014/main" id="{BCC78F58-564D-78DE-FD0B-46EDD3941EEA}"/>
              </a:ext>
            </a:extLst>
          </p:cNvPr>
          <p:cNvSpPr/>
          <p:nvPr/>
        </p:nvSpPr>
        <p:spPr>
          <a:xfrm>
            <a:off x="464525" y="381643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5</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1AA052A0-8E29-81CB-DDDF-3ADC63631708}"/>
              </a:ext>
            </a:extLst>
          </p:cNvPr>
          <p:cNvSpPr/>
          <p:nvPr/>
        </p:nvSpPr>
        <p:spPr>
          <a:xfrm>
            <a:off x="714623" y="1619769"/>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who need</a:t>
            </a:r>
          </a:p>
        </p:txBody>
      </p:sp>
      <p:sp>
        <p:nvSpPr>
          <p:cNvPr id="20" name="Oval 19">
            <a:extLst>
              <a:ext uri="{FF2B5EF4-FFF2-40B4-BE49-F238E27FC236}">
                <a16:creationId xmlns:a16="http://schemas.microsoft.com/office/drawing/2014/main" id="{25C00EC4-FFBB-1AA5-2ACE-5ED6CC11FF2C}"/>
              </a:ext>
            </a:extLst>
          </p:cNvPr>
          <p:cNvSpPr/>
          <p:nvPr/>
        </p:nvSpPr>
        <p:spPr>
          <a:xfrm>
            <a:off x="464525" y="1619769"/>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2</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329446C0-6A8B-5668-A685-217182F67850}"/>
              </a:ext>
            </a:extLst>
          </p:cNvPr>
          <p:cNvSpPr/>
          <p:nvPr/>
        </p:nvSpPr>
        <p:spPr>
          <a:xfrm>
            <a:off x="2402303" y="1016413"/>
            <a:ext cx="7728285" cy="457200"/>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0" marR="0" lvl="0" indent="0" algn="l" defTabSz="146685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System integrators that operate and maintain the BMS infrastructure for portfolios of small to large sized buildings</a:t>
            </a:r>
          </a:p>
        </p:txBody>
      </p:sp>
      <p:sp>
        <p:nvSpPr>
          <p:cNvPr id="22" name="Rectangle 21">
            <a:extLst>
              <a:ext uri="{FF2B5EF4-FFF2-40B4-BE49-F238E27FC236}">
                <a16:creationId xmlns:a16="http://schemas.microsoft.com/office/drawing/2014/main" id="{28057F0A-C328-113C-5C4B-4A3C8F9AD15D}"/>
              </a:ext>
            </a:extLst>
          </p:cNvPr>
          <p:cNvSpPr/>
          <p:nvPr/>
        </p:nvSpPr>
        <p:spPr>
          <a:xfrm>
            <a:off x="2331452" y="5281452"/>
            <a:ext cx="7799136" cy="457200"/>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0" marR="0" lvl="0" indent="0" algn="l" defTabSz="1466850" rtl="0" eaLnBrk="1" fontAlgn="auto" latinLnBrk="0" hangingPunct="1">
              <a:lnSpc>
                <a:spcPct val="90000"/>
              </a:lnSpc>
              <a:spcBef>
                <a:spcPct val="0"/>
              </a:spcBef>
              <a:spcAft>
                <a:spcPct val="35000"/>
              </a:spcAft>
              <a:buClrTx/>
              <a:buSzTx/>
              <a:buFontTx/>
              <a:buNone/>
              <a:tabLst/>
              <a:defRPr/>
            </a:pPr>
            <a:r>
              <a:rPr lang="en-IN" sz="1200">
                <a:solidFill>
                  <a:schemeClr val="tx1"/>
                </a:solidFill>
                <a:latin typeface="Arial" panose="020B0604020202020204" pitchFamily="34" charset="0"/>
                <a:cs typeface="Arial" panose="020B0604020202020204" pitchFamily="34" charset="0"/>
              </a:rPr>
              <a:t>Pilot/ Beta sites that are being evaluated with co-creation partners</a:t>
            </a:r>
            <a:endParaRPr kumimoji="0" lang="en-US" sz="1200" b="0" i="0" u="none" strike="noStrike" kern="1200" cap="none" spc="0" normalizeH="0" baseline="0" noProof="0">
              <a:ln>
                <a:noFill/>
              </a:ln>
              <a:solidFill>
                <a:schemeClr val="tx1"/>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C32D1613-CB0E-E4DA-EB37-33E5666134FA}"/>
              </a:ext>
            </a:extLst>
          </p:cNvPr>
          <p:cNvSpPr/>
          <p:nvPr/>
        </p:nvSpPr>
        <p:spPr>
          <a:xfrm>
            <a:off x="2331452" y="4556838"/>
            <a:ext cx="7799136" cy="535384"/>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t" anchorCtr="0">
            <a:noAutofit/>
          </a:bodyPr>
          <a:lstStyle/>
          <a:p>
            <a:pPr marL="114300" marR="143510" algn="l">
              <a:spcBef>
                <a:spcPts val="100"/>
              </a:spcBef>
              <a:spcAft>
                <a:spcPts val="400"/>
              </a:spcAft>
            </a:pPr>
            <a:r>
              <a:rPr lang="en-US" sz="1400">
                <a:solidFill>
                  <a:schemeClr val="tx1"/>
                </a:solidFill>
                <a:latin typeface="Arial" panose="020B0604020202020204" pitchFamily="34" charset="0"/>
                <a:cs typeface="Arial" panose="020B0604020202020204" pitchFamily="34" charset="0"/>
              </a:rPr>
              <a:t>providing a partner portal to readily deploy applications and mange all their customer sites in one location</a:t>
            </a:r>
          </a:p>
        </p:txBody>
      </p:sp>
      <p:sp>
        <p:nvSpPr>
          <p:cNvPr id="24" name="Rectangle 23">
            <a:extLst>
              <a:ext uri="{FF2B5EF4-FFF2-40B4-BE49-F238E27FC236}">
                <a16:creationId xmlns:a16="http://schemas.microsoft.com/office/drawing/2014/main" id="{A2F98740-68F8-68AE-6477-99FA34C9D9E4}"/>
              </a:ext>
            </a:extLst>
          </p:cNvPr>
          <p:cNvSpPr/>
          <p:nvPr/>
        </p:nvSpPr>
        <p:spPr>
          <a:xfrm>
            <a:off x="2331452" y="3104410"/>
            <a:ext cx="7799136" cy="457200"/>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defTabSz="1466850">
              <a:lnSpc>
                <a:spcPct val="90000"/>
              </a:lnSpc>
              <a:spcBef>
                <a:spcPct val="0"/>
              </a:spcBef>
              <a:spcAft>
                <a:spcPct val="35000"/>
              </a:spcAft>
              <a:defRPr/>
            </a:pPr>
            <a:r>
              <a:rPr lang="en-US" sz="1400">
                <a:solidFill>
                  <a:schemeClr val="tx1"/>
                </a:solidFill>
                <a:effectLst/>
                <a:latin typeface="Arial" panose="020B0604020202020204" pitchFamily="34" charset="0"/>
                <a:cs typeface="Arial" panose="020B0604020202020204" pitchFamily="34" charset="0"/>
              </a:rPr>
              <a:t>30% productivity gain, reducing the cost to serve. </a:t>
            </a:r>
            <a:r>
              <a:rPr lang="en-US" sz="1400">
                <a:solidFill>
                  <a:schemeClr val="tx1"/>
                </a:solidFill>
                <a:latin typeface="Arial" panose="020B0604020202020204" pitchFamily="34" charset="0"/>
                <a:cs typeface="Arial" panose="020B0604020202020204" pitchFamily="34" charset="0"/>
              </a:rPr>
              <a:t>I</a:t>
            </a:r>
            <a:r>
              <a:rPr lang="en-US" sz="1400">
                <a:solidFill>
                  <a:schemeClr val="tx1"/>
                </a:solidFill>
                <a:effectLst/>
                <a:latin typeface="Arial" panose="020B0604020202020204" pitchFamily="34" charset="0"/>
                <a:cs typeface="Arial" panose="020B0604020202020204" pitchFamily="34" charset="0"/>
              </a:rPr>
              <a:t>ncreases revenue growth potential through additional hardware, software and service opportunities</a:t>
            </a: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E064FC53-949E-EAD3-7005-A9A9AC9B4957}"/>
              </a:ext>
            </a:extLst>
          </p:cNvPr>
          <p:cNvSpPr/>
          <p:nvPr/>
        </p:nvSpPr>
        <p:spPr>
          <a:xfrm>
            <a:off x="2331452" y="2352183"/>
            <a:ext cx="7799136" cy="484813"/>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114300" marR="143510" algn="l">
              <a:spcBef>
                <a:spcPts val="100"/>
              </a:spcBef>
              <a:spcAft>
                <a:spcPts val="400"/>
              </a:spcAft>
            </a:pPr>
            <a:r>
              <a:rPr lang="en-IN" sz="1400" b="1">
                <a:solidFill>
                  <a:schemeClr val="tx1"/>
                </a:solidFill>
                <a:latin typeface="Arial" panose="020B0604020202020204" pitchFamily="34" charset="0"/>
                <a:cs typeface="Arial" panose="020B0604020202020204" pitchFamily="34" charset="0"/>
              </a:rPr>
              <a:t>HONEYWELL’S</a:t>
            </a:r>
            <a:r>
              <a:rPr lang="en-IN" sz="1400">
                <a:solidFill>
                  <a:schemeClr val="tx1"/>
                </a:solidFill>
                <a:latin typeface="Arial" panose="020B0604020202020204" pitchFamily="34" charset="0"/>
                <a:cs typeface="Arial" panose="020B0604020202020204" pitchFamily="34" charset="0"/>
              </a:rPr>
              <a:t> </a:t>
            </a:r>
            <a:r>
              <a:rPr lang="en-US" sz="1400">
                <a:solidFill>
                  <a:schemeClr val="tx1"/>
                </a:solidFill>
                <a:effectLst/>
                <a:latin typeface="Arial" panose="020B0604020202020204" pitchFamily="34" charset="0"/>
                <a:cs typeface="Arial" panose="020B0604020202020204" pitchFamily="34" charset="0"/>
              </a:rPr>
              <a:t>Forge for Buildings application suite</a:t>
            </a:r>
            <a:r>
              <a:rPr lang="en-US" sz="1400">
                <a:solidFill>
                  <a:schemeClr val="tx1"/>
                </a:solidFill>
                <a:latin typeface="Arial" panose="020B0604020202020204" pitchFamily="34" charset="0"/>
                <a:cs typeface="Arial" panose="020B0604020202020204" pitchFamily="34" charset="0"/>
              </a:rPr>
              <a:t> and</a:t>
            </a:r>
            <a:r>
              <a:rPr lang="en-US" sz="1400">
                <a:solidFill>
                  <a:schemeClr val="tx1"/>
                </a:solidFill>
                <a:effectLst/>
                <a:latin typeface="Arial" panose="020B0604020202020204" pitchFamily="34" charset="0"/>
                <a:cs typeface="Arial" panose="020B0604020202020204" pitchFamily="34" charset="0"/>
              </a:rPr>
              <a:t> HBOC service offering </a:t>
            </a:r>
            <a:endParaRPr lang="en-IN" sz="1400">
              <a:solidFill>
                <a:schemeClr val="tx1"/>
              </a:solidFill>
              <a:effectLst/>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E585F22D-2947-A14F-BE74-8A784B51C589}"/>
              </a:ext>
            </a:extLst>
          </p:cNvPr>
          <p:cNvSpPr/>
          <p:nvPr/>
        </p:nvSpPr>
        <p:spPr>
          <a:xfrm>
            <a:off x="2331453" y="3815279"/>
            <a:ext cx="7799135" cy="484813"/>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114300" marR="143510" algn="l">
              <a:spcBef>
                <a:spcPts val="100"/>
              </a:spcBef>
              <a:spcAft>
                <a:spcPts val="400"/>
              </a:spcAft>
            </a:pPr>
            <a:r>
              <a:rPr lang="en-IN" sz="1400">
                <a:solidFill>
                  <a:schemeClr val="tx1"/>
                </a:solidFill>
                <a:latin typeface="Arial" panose="020B0604020202020204" pitchFamily="34" charset="0"/>
                <a:cs typeface="Arial" panose="020B0604020202020204" pitchFamily="34" charset="0"/>
              </a:rPr>
              <a:t>the many disparate offerings that are currently used to create bespoke solutions</a:t>
            </a:r>
          </a:p>
        </p:txBody>
      </p:sp>
      <p:sp>
        <p:nvSpPr>
          <p:cNvPr id="27" name="Rectangle 26">
            <a:extLst>
              <a:ext uri="{FF2B5EF4-FFF2-40B4-BE49-F238E27FC236}">
                <a16:creationId xmlns:a16="http://schemas.microsoft.com/office/drawing/2014/main" id="{28F65FA3-909F-3706-4370-26007A3D359E}"/>
              </a:ext>
            </a:extLst>
          </p:cNvPr>
          <p:cNvSpPr/>
          <p:nvPr/>
        </p:nvSpPr>
        <p:spPr>
          <a:xfrm>
            <a:off x="2331452" y="1619769"/>
            <a:ext cx="7799136" cy="457200"/>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114300" marR="143510" algn="l">
              <a:spcBef>
                <a:spcPts val="100"/>
              </a:spcBef>
              <a:spcAft>
                <a:spcPts val="400"/>
              </a:spcAft>
            </a:pPr>
            <a:r>
              <a:rPr lang="en-IN" sz="1400" b="1">
                <a:solidFill>
                  <a:schemeClr val="tx1"/>
                </a:solidFill>
                <a:latin typeface="Arial" panose="020B0604020202020204" pitchFamily="34" charset="0"/>
                <a:cs typeface="Arial" panose="020B0604020202020204" pitchFamily="34" charset="0"/>
              </a:rPr>
              <a:t>T</a:t>
            </a:r>
            <a:r>
              <a:rPr lang="en-US" sz="1400">
                <a:solidFill>
                  <a:schemeClr val="tx1"/>
                </a:solidFill>
                <a:effectLst/>
                <a:latin typeface="Arial" panose="020B0604020202020204" pitchFamily="34" charset="0"/>
                <a:cs typeface="Arial" panose="020B0604020202020204" pitchFamily="34" charset="0"/>
              </a:rPr>
              <a:t>o deliver service contracts with best-in-class service while improving profitability</a:t>
            </a:r>
            <a:endParaRPr lang="en-IN" sz="1400">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1425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BDFCB-C379-B731-0105-746B2B10720E}"/>
            </a:ext>
          </a:extLst>
        </p:cNvPr>
        <p:cNvGrpSpPr/>
        <p:nvPr/>
      </p:nvGrpSpPr>
      <p:grpSpPr>
        <a:xfrm>
          <a:off x="0" y="0"/>
          <a:ext cx="0" cy="0"/>
          <a:chOff x="0" y="0"/>
          <a:chExt cx="0" cy="0"/>
        </a:xfrm>
      </p:grpSpPr>
      <p:sp>
        <p:nvSpPr>
          <p:cNvPr id="4" name="Rectangle 3" hidden="1">
            <a:extLst>
              <a:ext uri="{FF2B5EF4-FFF2-40B4-BE49-F238E27FC236}">
                <a16:creationId xmlns:a16="http://schemas.microsoft.com/office/drawing/2014/main" id="{52ACDB77-22B4-3BE3-61FE-50CB84370712}"/>
              </a:ext>
              <a:ext uri="{C183D7F6-B498-43B3-948B-1728B52AA6E4}">
                <adec:decorative xmlns:adec="http://schemas.microsoft.com/office/drawing/2017/decorative" val="1"/>
              </a:ext>
            </a:extLst>
          </p:cNvPr>
          <p:cNvSpPr/>
          <p:nvPr>
            <p:custDataLst>
              <p:tags r:id="rId1"/>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Slide Number Placeholder 6">
            <a:extLst>
              <a:ext uri="{FF2B5EF4-FFF2-40B4-BE49-F238E27FC236}">
                <a16:creationId xmlns:a16="http://schemas.microsoft.com/office/drawing/2014/main" id="{299D7E59-74EA-22E8-2BA7-720904DE1DE9}"/>
              </a:ext>
              <a:ext uri="{C183D7F6-B498-43B3-948B-1728B52AA6E4}">
                <adec:decorative xmlns:adec="http://schemas.microsoft.com/office/drawing/2017/decorative" val="1"/>
              </a:ext>
            </a:extLst>
          </p:cNvPr>
          <p:cNvSpPr>
            <a:spLocks noGrp="1"/>
          </p:cNvSpPr>
          <p:nvPr>
            <p:ph type="sldNum" sz="quarter" idx="12"/>
          </p:nvPr>
        </p:nvSpPr>
        <p:spPr/>
        <p:txBody>
          <a:bodyPr/>
          <a:lstStyle/>
          <a:p>
            <a:fld id="{7B94EC18-1D2B-4535-B738-0E53AFE26620}" type="slidenum">
              <a:rPr lang="en-US" smtClean="0"/>
              <a:t>37</a:t>
            </a:fld>
            <a:endParaRPr lang="en-US"/>
          </a:p>
        </p:txBody>
      </p:sp>
      <p:sp>
        <p:nvSpPr>
          <p:cNvPr id="13" name="Title 12">
            <a:extLst>
              <a:ext uri="{FF2B5EF4-FFF2-40B4-BE49-F238E27FC236}">
                <a16:creationId xmlns:a16="http://schemas.microsoft.com/office/drawing/2014/main" id="{B1651168-2CDD-395A-0457-EAD69516D687}"/>
              </a:ext>
            </a:extLst>
          </p:cNvPr>
          <p:cNvSpPr>
            <a:spLocks noGrp="1"/>
          </p:cNvSpPr>
          <p:nvPr>
            <p:ph type="title"/>
          </p:nvPr>
        </p:nvSpPr>
        <p:spPr>
          <a:xfrm>
            <a:off x="358819" y="371230"/>
            <a:ext cx="11446494" cy="443198"/>
          </a:xfrm>
        </p:spPr>
        <p:txBody>
          <a:bodyPr/>
          <a:lstStyle/>
          <a:p>
            <a:pPr>
              <a:lnSpc>
                <a:spcPct val="90000"/>
              </a:lnSpc>
              <a:spcBef>
                <a:spcPts val="0"/>
              </a:spcBef>
              <a:buClr>
                <a:srgbClr val="D22630"/>
              </a:buClr>
            </a:pPr>
            <a:r>
              <a:rPr lang="en-US" spc="-20">
                <a:cs typeface="Arial Black" panose="020B0604020202020204" pitchFamily="34" charset="0"/>
              </a:rPr>
              <a:t>Value</a:t>
            </a:r>
            <a:r>
              <a:rPr lang="en-US" spc="-15">
                <a:cs typeface="Arial Black" panose="020B0604020202020204" pitchFamily="34" charset="0"/>
              </a:rPr>
              <a:t> </a:t>
            </a:r>
            <a:r>
              <a:rPr lang="en-US" spc="-10">
                <a:cs typeface="Arial Black" panose="020B0604020202020204" pitchFamily="34" charset="0"/>
              </a:rPr>
              <a:t>Proposition: Customers</a:t>
            </a:r>
          </a:p>
        </p:txBody>
      </p:sp>
      <p:sp>
        <p:nvSpPr>
          <p:cNvPr id="2" name="Rectangle 1">
            <a:extLst>
              <a:ext uri="{FF2B5EF4-FFF2-40B4-BE49-F238E27FC236}">
                <a16:creationId xmlns:a16="http://schemas.microsoft.com/office/drawing/2014/main" id="{F7B09A63-ECD7-6DB0-1706-92EF58653EED}"/>
              </a:ext>
            </a:extLst>
          </p:cNvPr>
          <p:cNvSpPr/>
          <p:nvPr/>
        </p:nvSpPr>
        <p:spPr>
          <a:xfrm>
            <a:off x="741141" y="1017911"/>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For</a:t>
            </a:r>
          </a:p>
        </p:txBody>
      </p:sp>
      <p:sp>
        <p:nvSpPr>
          <p:cNvPr id="5" name="Oval 4">
            <a:extLst>
              <a:ext uri="{FF2B5EF4-FFF2-40B4-BE49-F238E27FC236}">
                <a16:creationId xmlns:a16="http://schemas.microsoft.com/office/drawing/2014/main" id="{4A84DD2F-7A96-ED21-8FDF-DE76771591D8}"/>
              </a:ext>
            </a:extLst>
          </p:cNvPr>
          <p:cNvSpPr/>
          <p:nvPr/>
        </p:nvSpPr>
        <p:spPr>
          <a:xfrm>
            <a:off x="464525" y="99562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1</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3DB5F9B4-7EC0-2462-E59A-15B9BAF33914}"/>
              </a:ext>
            </a:extLst>
          </p:cNvPr>
          <p:cNvSpPr/>
          <p:nvPr/>
        </p:nvSpPr>
        <p:spPr>
          <a:xfrm>
            <a:off x="714623" y="5281452"/>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  as proven by</a:t>
            </a:r>
          </a:p>
        </p:txBody>
      </p:sp>
      <p:sp>
        <p:nvSpPr>
          <p:cNvPr id="8" name="Oval 7">
            <a:extLst>
              <a:ext uri="{FF2B5EF4-FFF2-40B4-BE49-F238E27FC236}">
                <a16:creationId xmlns:a16="http://schemas.microsoft.com/office/drawing/2014/main" id="{004A0C02-3388-B557-FF4E-37F0B6FBB2AF}"/>
              </a:ext>
            </a:extLst>
          </p:cNvPr>
          <p:cNvSpPr/>
          <p:nvPr/>
        </p:nvSpPr>
        <p:spPr>
          <a:xfrm>
            <a:off x="464525" y="528145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7</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975E2207-1A0A-8569-F6FD-676B816E6493}"/>
              </a:ext>
            </a:extLst>
          </p:cNvPr>
          <p:cNvSpPr/>
          <p:nvPr/>
        </p:nvSpPr>
        <p:spPr>
          <a:xfrm>
            <a:off x="714623" y="4546828"/>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 We do this by</a:t>
            </a:r>
          </a:p>
        </p:txBody>
      </p:sp>
      <p:sp>
        <p:nvSpPr>
          <p:cNvPr id="10" name="Oval 9">
            <a:extLst>
              <a:ext uri="{FF2B5EF4-FFF2-40B4-BE49-F238E27FC236}">
                <a16:creationId xmlns:a16="http://schemas.microsoft.com/office/drawing/2014/main" id="{35170EC8-F499-A5A9-7E41-6DCEC2F03E5B}"/>
              </a:ext>
            </a:extLst>
          </p:cNvPr>
          <p:cNvSpPr/>
          <p:nvPr/>
        </p:nvSpPr>
        <p:spPr>
          <a:xfrm>
            <a:off x="464525" y="454894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6</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7038F68-3E8D-1C58-E12A-0099271A5943}"/>
              </a:ext>
            </a:extLst>
          </p:cNvPr>
          <p:cNvSpPr/>
          <p:nvPr/>
        </p:nvSpPr>
        <p:spPr>
          <a:xfrm>
            <a:off x="714623" y="3083732"/>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provides $X</a:t>
            </a:r>
          </a:p>
        </p:txBody>
      </p:sp>
      <p:sp>
        <p:nvSpPr>
          <p:cNvPr id="12" name="Oval 11">
            <a:extLst>
              <a:ext uri="{FF2B5EF4-FFF2-40B4-BE49-F238E27FC236}">
                <a16:creationId xmlns:a16="http://schemas.microsoft.com/office/drawing/2014/main" id="{3AFBEFC4-F325-C61A-80A2-88F3A7C466C0}"/>
              </a:ext>
            </a:extLst>
          </p:cNvPr>
          <p:cNvSpPr/>
          <p:nvPr/>
        </p:nvSpPr>
        <p:spPr>
          <a:xfrm>
            <a:off x="464525" y="308392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4</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9A4F33B9-ED8C-A833-4142-8B99A2D4B6EF}"/>
              </a:ext>
            </a:extLst>
          </p:cNvPr>
          <p:cNvSpPr/>
          <p:nvPr/>
        </p:nvSpPr>
        <p:spPr>
          <a:xfrm>
            <a:off x="714623" y="2352184"/>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Honeywell’s</a:t>
            </a:r>
          </a:p>
        </p:txBody>
      </p:sp>
      <p:sp>
        <p:nvSpPr>
          <p:cNvPr id="16" name="Oval 15">
            <a:extLst>
              <a:ext uri="{FF2B5EF4-FFF2-40B4-BE49-F238E27FC236}">
                <a16:creationId xmlns:a16="http://schemas.microsoft.com/office/drawing/2014/main" id="{44B63A08-DFDE-B336-2D0D-C1183CB1543C}"/>
              </a:ext>
            </a:extLst>
          </p:cNvPr>
          <p:cNvSpPr/>
          <p:nvPr/>
        </p:nvSpPr>
        <p:spPr>
          <a:xfrm>
            <a:off x="464525" y="235141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3</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B4776181-1F43-822A-3DB9-486073FE0ACA}"/>
              </a:ext>
            </a:extLst>
          </p:cNvPr>
          <p:cNvSpPr/>
          <p:nvPr/>
        </p:nvSpPr>
        <p:spPr>
          <a:xfrm>
            <a:off x="714623" y="3815280"/>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unlike</a:t>
            </a:r>
          </a:p>
        </p:txBody>
      </p:sp>
      <p:sp>
        <p:nvSpPr>
          <p:cNvPr id="18" name="Oval 17">
            <a:extLst>
              <a:ext uri="{FF2B5EF4-FFF2-40B4-BE49-F238E27FC236}">
                <a16:creationId xmlns:a16="http://schemas.microsoft.com/office/drawing/2014/main" id="{8C212091-126C-E8FA-4A4D-17187ABF0003}"/>
              </a:ext>
            </a:extLst>
          </p:cNvPr>
          <p:cNvSpPr/>
          <p:nvPr/>
        </p:nvSpPr>
        <p:spPr>
          <a:xfrm>
            <a:off x="464525" y="381643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5</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B4DAD2F8-6C37-61FA-8C54-FB9DA5532A1C}"/>
              </a:ext>
            </a:extLst>
          </p:cNvPr>
          <p:cNvSpPr/>
          <p:nvPr/>
        </p:nvSpPr>
        <p:spPr>
          <a:xfrm>
            <a:off x="714623" y="1619769"/>
            <a:ext cx="1530151" cy="457200"/>
          </a:xfrm>
          <a:prstGeom prst="rect">
            <a:avLst/>
          </a:pr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928" tIns="91928" rIns="91928" bIns="62865" numCol="1" spcCol="1270" anchor="ctr" anchorCtr="0">
            <a:noAutofit/>
          </a:bodyPr>
          <a:lstStyle/>
          <a:p>
            <a:pPr marL="0" marR="0" lvl="0" indent="0" algn="r" defTabSz="14668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who need</a:t>
            </a:r>
          </a:p>
        </p:txBody>
      </p:sp>
      <p:sp>
        <p:nvSpPr>
          <p:cNvPr id="20" name="Oval 19">
            <a:extLst>
              <a:ext uri="{FF2B5EF4-FFF2-40B4-BE49-F238E27FC236}">
                <a16:creationId xmlns:a16="http://schemas.microsoft.com/office/drawing/2014/main" id="{86FA475F-A9C7-5F26-01A0-1A1B4B4DF6C6}"/>
              </a:ext>
            </a:extLst>
          </p:cNvPr>
          <p:cNvSpPr/>
          <p:nvPr/>
        </p:nvSpPr>
        <p:spPr>
          <a:xfrm>
            <a:off x="464525" y="1619769"/>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Arial"/>
                <a:ea typeface="+mn-ea"/>
                <a:cs typeface="+mn-cs"/>
              </a:rPr>
              <a:t>2</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C4B35390-0C09-6160-313A-6B8465A2F61A}"/>
              </a:ext>
            </a:extLst>
          </p:cNvPr>
          <p:cNvSpPr/>
          <p:nvPr/>
        </p:nvSpPr>
        <p:spPr>
          <a:xfrm>
            <a:off x="2402303" y="1016413"/>
            <a:ext cx="7728285" cy="457200"/>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0" marR="0" lvl="0" indent="0" algn="l" defTabSz="146685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Customers and End Users</a:t>
            </a:r>
          </a:p>
        </p:txBody>
      </p:sp>
      <p:sp>
        <p:nvSpPr>
          <p:cNvPr id="22" name="Rectangle 21">
            <a:extLst>
              <a:ext uri="{FF2B5EF4-FFF2-40B4-BE49-F238E27FC236}">
                <a16:creationId xmlns:a16="http://schemas.microsoft.com/office/drawing/2014/main" id="{4745B419-0B9C-C9E2-7278-E844336ACB68}"/>
              </a:ext>
            </a:extLst>
          </p:cNvPr>
          <p:cNvSpPr/>
          <p:nvPr/>
        </p:nvSpPr>
        <p:spPr>
          <a:xfrm>
            <a:off x="2331452" y="5281452"/>
            <a:ext cx="7799136" cy="457200"/>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0" marR="0" lvl="0" indent="0" algn="l" defTabSz="1466850" rtl="0" eaLnBrk="1" fontAlgn="auto" latinLnBrk="0" hangingPunct="1">
              <a:lnSpc>
                <a:spcPct val="90000"/>
              </a:lnSpc>
              <a:spcBef>
                <a:spcPct val="0"/>
              </a:spcBef>
              <a:spcAft>
                <a:spcPct val="35000"/>
              </a:spcAft>
              <a:buClrTx/>
              <a:buSzTx/>
              <a:buFontTx/>
              <a:buNone/>
              <a:tabLst/>
              <a:defRPr/>
            </a:pPr>
            <a:r>
              <a:rPr lang="en-US" sz="1400">
                <a:solidFill>
                  <a:schemeClr val="tx1"/>
                </a:solidFill>
                <a:latin typeface="Arial" panose="020B0604020202020204" pitchFamily="34" charset="0"/>
                <a:cs typeface="Arial" panose="020B0604020202020204" pitchFamily="34" charset="0"/>
              </a:rPr>
              <a:t>Feedbacks received from existing connected customers.</a:t>
            </a: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77C13634-CAE9-EB34-5D87-970681C2B43A}"/>
              </a:ext>
            </a:extLst>
          </p:cNvPr>
          <p:cNvSpPr/>
          <p:nvPr/>
        </p:nvSpPr>
        <p:spPr>
          <a:xfrm>
            <a:off x="2331452" y="4496678"/>
            <a:ext cx="7799136" cy="535384"/>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t" anchorCtr="0">
            <a:noAutofit/>
          </a:bodyPr>
          <a:lstStyle/>
          <a:p>
            <a:pPr marL="114300" marR="143510" algn="l">
              <a:spcBef>
                <a:spcPts val="100"/>
              </a:spcBef>
              <a:spcAft>
                <a:spcPts val="400"/>
              </a:spcAft>
            </a:pPr>
            <a:r>
              <a:rPr lang="en-US" sz="1400">
                <a:solidFill>
                  <a:schemeClr val="tx1"/>
                </a:solidFill>
                <a:latin typeface="Arial" panose="020B0604020202020204" pitchFamily="34" charset="0"/>
                <a:cs typeface="Arial" panose="020B0604020202020204" pitchFamily="34" charset="0"/>
              </a:rPr>
              <a:t>connecting sites easily to Forge to provide maximum remote services like Predictive Maintenance, Carbon and Energy Management. Along with the option to connect to HBOC to provide managed services </a:t>
            </a:r>
            <a:endParaRPr lang="en-IN" sz="1400">
              <a:solidFill>
                <a:schemeClr val="tx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8D6B2AB1-A3BF-025D-1394-AE5C074D71A4}"/>
              </a:ext>
            </a:extLst>
          </p:cNvPr>
          <p:cNvSpPr/>
          <p:nvPr/>
        </p:nvSpPr>
        <p:spPr>
          <a:xfrm>
            <a:off x="2331452" y="3104410"/>
            <a:ext cx="7799136" cy="457200"/>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114300" marR="143510" algn="l">
              <a:spcBef>
                <a:spcPts val="100"/>
              </a:spcBef>
              <a:spcAft>
                <a:spcPts val="400"/>
              </a:spcAft>
            </a:pPr>
            <a:r>
              <a:rPr lang="en-IN" sz="1400">
                <a:solidFill>
                  <a:schemeClr val="tx1"/>
                </a:solidFill>
                <a:latin typeface="Arial" panose="020B0604020202020204" pitchFamily="34" charset="0"/>
                <a:cs typeface="Arial" panose="020B0604020202020204" pitchFamily="34" charset="0"/>
              </a:rPr>
              <a:t>xx% </a:t>
            </a:r>
            <a:r>
              <a:rPr lang="en-IN" sz="1400">
                <a:solidFill>
                  <a:schemeClr val="tx1"/>
                </a:solidFill>
                <a:effectLst/>
                <a:latin typeface="Arial" panose="020B0604020202020204" pitchFamily="34" charset="0"/>
                <a:cs typeface="Arial" panose="020B0604020202020204" pitchFamily="34" charset="0"/>
              </a:rPr>
              <a:t>energy saving and risk mitigation with </a:t>
            </a:r>
            <a:r>
              <a:rPr lang="en-US" sz="1400">
                <a:solidFill>
                  <a:schemeClr val="tx1"/>
                </a:solidFill>
                <a:effectLst/>
                <a:latin typeface="Arial" panose="020B0604020202020204" pitchFamily="34" charset="0"/>
                <a:cs typeface="Arial" panose="020B0604020202020204" pitchFamily="34" charset="0"/>
              </a:rPr>
              <a:t>improvement</a:t>
            </a:r>
            <a:r>
              <a:rPr lang="en-US" sz="1400">
                <a:solidFill>
                  <a:schemeClr val="tx1"/>
                </a:solidFill>
                <a:latin typeface="Arial" panose="020B0604020202020204" pitchFamily="34" charset="0"/>
                <a:cs typeface="Arial" panose="020B0604020202020204" pitchFamily="34" charset="0"/>
              </a:rPr>
              <a:t> in asset uptime and asset lifecycle</a:t>
            </a:r>
            <a:endParaRPr lang="en-IN" sz="1400">
              <a:solidFill>
                <a:schemeClr val="tx1"/>
              </a:solidFill>
              <a:effectLst/>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35534B92-36F4-A5D3-B264-445B266A043B}"/>
              </a:ext>
            </a:extLst>
          </p:cNvPr>
          <p:cNvSpPr/>
          <p:nvPr/>
        </p:nvSpPr>
        <p:spPr>
          <a:xfrm>
            <a:off x="2331452" y="2352183"/>
            <a:ext cx="7799136" cy="484813"/>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114300" marR="143510" algn="l">
              <a:spcBef>
                <a:spcPts val="100"/>
              </a:spcBef>
              <a:spcAft>
                <a:spcPts val="400"/>
              </a:spcAft>
            </a:pPr>
            <a:r>
              <a:rPr lang="en-IN" sz="1400" b="1">
                <a:solidFill>
                  <a:schemeClr val="tx1"/>
                </a:solidFill>
                <a:latin typeface="Arial" panose="020B0604020202020204" pitchFamily="34" charset="0"/>
                <a:cs typeface="Arial" panose="020B0604020202020204" pitchFamily="34" charset="0"/>
              </a:rPr>
              <a:t>HONEYWELL’S</a:t>
            </a:r>
            <a:r>
              <a:rPr lang="en-IN" sz="1400">
                <a:solidFill>
                  <a:schemeClr val="tx1"/>
                </a:solidFill>
                <a:latin typeface="Arial" panose="020B0604020202020204" pitchFamily="34" charset="0"/>
                <a:cs typeface="Arial" panose="020B0604020202020204" pitchFamily="34" charset="0"/>
              </a:rPr>
              <a:t> </a:t>
            </a:r>
            <a:r>
              <a:rPr lang="en-US" sz="1400">
                <a:solidFill>
                  <a:schemeClr val="tx1"/>
                </a:solidFill>
                <a:effectLst/>
                <a:latin typeface="Arial" panose="020B0604020202020204" pitchFamily="34" charset="0"/>
                <a:cs typeface="Arial" panose="020B0604020202020204" pitchFamily="34" charset="0"/>
              </a:rPr>
              <a:t>Forge for Buildings application suite</a:t>
            </a:r>
            <a:r>
              <a:rPr lang="en-US" sz="1400">
                <a:solidFill>
                  <a:schemeClr val="tx1"/>
                </a:solidFill>
                <a:latin typeface="Arial" panose="020B0604020202020204" pitchFamily="34" charset="0"/>
                <a:cs typeface="Arial" panose="020B0604020202020204" pitchFamily="34" charset="0"/>
              </a:rPr>
              <a:t> and</a:t>
            </a:r>
            <a:r>
              <a:rPr lang="en-US" sz="1400">
                <a:solidFill>
                  <a:schemeClr val="tx1"/>
                </a:solidFill>
                <a:effectLst/>
                <a:latin typeface="Arial" panose="020B0604020202020204" pitchFamily="34" charset="0"/>
                <a:cs typeface="Arial" panose="020B0604020202020204" pitchFamily="34" charset="0"/>
              </a:rPr>
              <a:t> HBOC service offering </a:t>
            </a:r>
            <a:endParaRPr lang="en-IN" sz="1400">
              <a:solidFill>
                <a:schemeClr val="tx1"/>
              </a:solidFill>
              <a:effectLst/>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C3C99F47-3B70-DECE-D222-572CCFB5970B}"/>
              </a:ext>
            </a:extLst>
          </p:cNvPr>
          <p:cNvSpPr/>
          <p:nvPr/>
        </p:nvSpPr>
        <p:spPr>
          <a:xfrm>
            <a:off x="2331453" y="3815279"/>
            <a:ext cx="7799135" cy="484813"/>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114300" marR="143510" algn="l">
              <a:spcBef>
                <a:spcPts val="100"/>
              </a:spcBef>
              <a:spcAft>
                <a:spcPts val="400"/>
              </a:spcAft>
            </a:pPr>
            <a:r>
              <a:rPr lang="en-IN" sz="1400">
                <a:solidFill>
                  <a:schemeClr val="tx1"/>
                </a:solidFill>
                <a:latin typeface="Arial" panose="020B0604020202020204" pitchFamily="34" charset="0"/>
                <a:cs typeface="Arial" panose="020B0604020202020204" pitchFamily="34" charset="0"/>
              </a:rPr>
              <a:t>the manual processes and the many disparate offerings that are currently used</a:t>
            </a:r>
          </a:p>
        </p:txBody>
      </p:sp>
      <p:sp>
        <p:nvSpPr>
          <p:cNvPr id="27" name="Rectangle 26">
            <a:extLst>
              <a:ext uri="{FF2B5EF4-FFF2-40B4-BE49-F238E27FC236}">
                <a16:creationId xmlns:a16="http://schemas.microsoft.com/office/drawing/2014/main" id="{E82CE589-9A80-962A-4169-2CEA38BC8E7D}"/>
              </a:ext>
            </a:extLst>
          </p:cNvPr>
          <p:cNvSpPr/>
          <p:nvPr/>
        </p:nvSpPr>
        <p:spPr>
          <a:xfrm>
            <a:off x="2331452" y="1619769"/>
            <a:ext cx="7799136" cy="457200"/>
          </a:xfrm>
          <a:prstGeom prst="rect">
            <a:avLst/>
          </a:prstGeom>
          <a:solidFill>
            <a:schemeClr val="bg1">
              <a:lumMod val="95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2865" tIns="62865" rIns="62865" bIns="62865" numCol="1" spcCol="1270" anchor="ctr" anchorCtr="0">
            <a:noAutofit/>
          </a:bodyPr>
          <a:lstStyle/>
          <a:p>
            <a:pPr marL="114300" marR="143510" algn="l">
              <a:spcBef>
                <a:spcPts val="100"/>
              </a:spcBef>
              <a:spcAft>
                <a:spcPts val="400"/>
              </a:spcAft>
            </a:pPr>
            <a:r>
              <a:rPr lang="en-US" sz="1400">
                <a:solidFill>
                  <a:schemeClr val="tx1"/>
                </a:solidFill>
                <a:effectLst/>
                <a:latin typeface="Arial" panose="020B0604020202020204" pitchFamily="34" charset="0"/>
                <a:cs typeface="Arial" panose="020B0604020202020204" pitchFamily="34" charset="0"/>
              </a:rPr>
              <a:t>best-in-class service and improved asset lifecycle while achieving their strategic goals like operation effectiveness, sustainability, improved uptime.</a:t>
            </a:r>
          </a:p>
        </p:txBody>
      </p:sp>
    </p:spTree>
    <p:extLst>
      <p:ext uri="{BB962C8B-B14F-4D97-AF65-F5344CB8AC3E}">
        <p14:creationId xmlns:p14="http://schemas.microsoft.com/office/powerpoint/2010/main" val="40219304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41739-1C9F-17CA-F020-51F24050B982}"/>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94C06FBC-4F4C-77AA-DC99-B015A7F74A6D}"/>
              </a:ext>
            </a:extLst>
          </p:cNvPr>
          <p:cNvSpPr>
            <a:spLocks noGrp="1"/>
          </p:cNvSpPr>
          <p:nvPr>
            <p:ph idx="17"/>
          </p:nvPr>
        </p:nvSpPr>
        <p:spPr/>
        <p:txBody>
          <a:bodyPr/>
          <a:lstStyle/>
          <a:p>
            <a:endParaRPr lang="en-GB"/>
          </a:p>
        </p:txBody>
      </p:sp>
      <p:sp>
        <p:nvSpPr>
          <p:cNvPr id="4" name="Content Placeholder 3">
            <a:extLst>
              <a:ext uri="{FF2B5EF4-FFF2-40B4-BE49-F238E27FC236}">
                <a16:creationId xmlns:a16="http://schemas.microsoft.com/office/drawing/2014/main" id="{DA9D5CE2-03D1-E616-F7E6-622C4E1DBEE3}"/>
              </a:ext>
            </a:extLst>
          </p:cNvPr>
          <p:cNvSpPr>
            <a:spLocks noGrp="1"/>
          </p:cNvSpPr>
          <p:nvPr>
            <p:ph idx="18"/>
          </p:nvPr>
        </p:nvSpPr>
        <p:spPr/>
        <p:txBody>
          <a:bodyPr/>
          <a:lstStyle/>
          <a:p>
            <a:endParaRPr lang="en-GB"/>
          </a:p>
        </p:txBody>
      </p:sp>
      <p:sp>
        <p:nvSpPr>
          <p:cNvPr id="5" name="Text Placeholder 4">
            <a:extLst>
              <a:ext uri="{FF2B5EF4-FFF2-40B4-BE49-F238E27FC236}">
                <a16:creationId xmlns:a16="http://schemas.microsoft.com/office/drawing/2014/main" id="{38476646-E3AC-F756-7DD5-150EE41D733C}"/>
              </a:ext>
            </a:extLst>
          </p:cNvPr>
          <p:cNvSpPr>
            <a:spLocks noGrp="1"/>
          </p:cNvSpPr>
          <p:nvPr>
            <p:ph type="body" sz="quarter" idx="16"/>
          </p:nvPr>
        </p:nvSpPr>
        <p:spPr/>
        <p:txBody>
          <a:bodyPr/>
          <a:lstStyle/>
          <a:p>
            <a:endParaRPr lang="en-GB"/>
          </a:p>
        </p:txBody>
      </p:sp>
      <p:sp>
        <p:nvSpPr>
          <p:cNvPr id="6" name="Slide Number Placeholder 5">
            <a:extLst>
              <a:ext uri="{FF2B5EF4-FFF2-40B4-BE49-F238E27FC236}">
                <a16:creationId xmlns:a16="http://schemas.microsoft.com/office/drawing/2014/main" id="{B4DAF005-323C-8E19-F642-00CEC87E7CE0}"/>
              </a:ext>
            </a:extLst>
          </p:cNvPr>
          <p:cNvSpPr>
            <a:spLocks noGrp="1"/>
          </p:cNvSpPr>
          <p:nvPr>
            <p:ph type="sldNum" sz="quarter" idx="12"/>
          </p:nvPr>
        </p:nvSpPr>
        <p:spPr/>
        <p:txBody>
          <a:bodyPr/>
          <a:lstStyle/>
          <a:p>
            <a:fld id="{7B94EC18-1D2B-4535-B738-0E53AFE26620}" type="slidenum">
              <a:rPr lang="en-US" smtClean="0"/>
              <a:t>38</a:t>
            </a:fld>
            <a:endParaRPr lang="en-US"/>
          </a:p>
        </p:txBody>
      </p:sp>
    </p:spTree>
    <p:extLst>
      <p:ext uri="{BB962C8B-B14F-4D97-AF65-F5344CB8AC3E}">
        <p14:creationId xmlns:p14="http://schemas.microsoft.com/office/powerpoint/2010/main" val="6421885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16000" r="-16000"/>
          </a:stretch>
        </a:blipFill>
        <a:effectLst/>
      </p:bgPr>
    </p:bg>
    <p:spTree>
      <p:nvGrpSpPr>
        <p:cNvPr id="1" name="">
          <a:extLst>
            <a:ext uri="{FF2B5EF4-FFF2-40B4-BE49-F238E27FC236}">
              <a16:creationId xmlns:a16="http://schemas.microsoft.com/office/drawing/2014/main" id="{ACAD9B7C-2CAE-2D3A-6F2E-8FE0197DEF43}"/>
            </a:ext>
          </a:extLst>
        </p:cNvPr>
        <p:cNvGrpSpPr/>
        <p:nvPr/>
      </p:nvGrpSpPr>
      <p:grpSpPr>
        <a:xfrm>
          <a:off x="0" y="0"/>
          <a:ext cx="0" cy="0"/>
          <a:chOff x="0" y="0"/>
          <a:chExt cx="0" cy="0"/>
        </a:xfrm>
      </p:grpSpPr>
      <p:sp>
        <p:nvSpPr>
          <p:cNvPr id="12" name="Pentagon 9">
            <a:extLst>
              <a:ext uri="{FF2B5EF4-FFF2-40B4-BE49-F238E27FC236}">
                <a16:creationId xmlns:a16="http://schemas.microsoft.com/office/drawing/2014/main" id="{722897C2-DC8C-93C3-7C77-D757E3A051FB}"/>
              </a:ext>
            </a:extLst>
          </p:cNvPr>
          <p:cNvSpPr/>
          <p:nvPr/>
        </p:nvSpPr>
        <p:spPr bwMode="auto">
          <a:xfrm rot="10800000">
            <a:off x="326418" y="1358137"/>
            <a:ext cx="11865582" cy="4368797"/>
          </a:xfrm>
          <a:prstGeom prst="homePlate">
            <a:avLst/>
          </a:prstGeom>
          <a:solidFill>
            <a:schemeClr val="bg1">
              <a:lumMod val="95000"/>
              <a:alpha val="16000"/>
            </a:schemeClr>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96" name="think-cell data - do not delete" hidden="1">
            <a:extLst>
              <a:ext uri="{FF2B5EF4-FFF2-40B4-BE49-F238E27FC236}">
                <a16:creationId xmlns:a16="http://schemas.microsoft.com/office/drawing/2014/main" id="{5DB340F7-76CC-D9FC-06A5-668A260AC5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6" name="think-cell data - do not delete" hidden="1">
                        <a:extLst>
                          <a:ext uri="{FF2B5EF4-FFF2-40B4-BE49-F238E27FC236}">
                            <a16:creationId xmlns:a16="http://schemas.microsoft.com/office/drawing/2014/main" id="{5DB340F7-76CC-D9FC-06A5-668A260AC5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19A4DC-EC24-11FC-5A1C-EA0B4EE30292}"/>
              </a:ext>
            </a:extLst>
          </p:cNvPr>
          <p:cNvSpPr>
            <a:spLocks noGrp="1"/>
          </p:cNvSpPr>
          <p:nvPr>
            <p:ph type="title"/>
          </p:nvPr>
        </p:nvSpPr>
        <p:spPr>
          <a:xfrm>
            <a:off x="557784" y="347472"/>
            <a:ext cx="11594764" cy="402095"/>
          </a:xfrm>
        </p:spPr>
        <p:txBody>
          <a:bodyPr vert="horz"/>
          <a:lstStyle/>
          <a:p>
            <a:r>
              <a:rPr lang="en-US" sz="2800">
                <a:solidFill>
                  <a:schemeClr val="bg1"/>
                </a:solidFill>
              </a:rPr>
              <a:t>Partner priorities</a:t>
            </a:r>
            <a:br>
              <a:rPr lang="en-US" sz="2800"/>
            </a:br>
            <a:endParaRPr lang="en-US" sz="2800">
              <a:solidFill>
                <a:schemeClr val="bg1"/>
              </a:solidFill>
            </a:endParaRPr>
          </a:p>
        </p:txBody>
      </p:sp>
      <p:sp>
        <p:nvSpPr>
          <p:cNvPr id="57" name="TextBox 56">
            <a:extLst>
              <a:ext uri="{FF2B5EF4-FFF2-40B4-BE49-F238E27FC236}">
                <a16:creationId xmlns:a16="http://schemas.microsoft.com/office/drawing/2014/main" id="{46AA7091-A628-340B-C66E-8E43FBD4322A}"/>
              </a:ext>
            </a:extLst>
          </p:cNvPr>
          <p:cNvSpPr txBox="1"/>
          <p:nvPr/>
        </p:nvSpPr>
        <p:spPr>
          <a:xfrm>
            <a:off x="6086902" y="1416639"/>
            <a:ext cx="5688000" cy="988476"/>
          </a:xfrm>
          <a:prstGeom prst="rect">
            <a:avLst/>
          </a:prstGeom>
          <a:noFill/>
        </p:spPr>
        <p:txBody>
          <a:bodyPr wrap="square" lIns="36000" tIns="36000" rIns="36000" bIns="3600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C202E"/>
                </a:solidFill>
                <a:effectLst/>
                <a:uLnTx/>
                <a:uFillTx/>
                <a:latin typeface="Arial Black"/>
                <a:ea typeface="+mn-ea"/>
                <a:cs typeface="+mn-cs"/>
              </a:rPr>
              <a:t>REDUCE COST TO SERVE</a:t>
            </a:r>
            <a:br>
              <a:rPr kumimoji="0" lang="en-US" sz="1800" b="1" i="0" u="none" strike="noStrike" kern="1200" cap="none" spc="0" normalizeH="0" baseline="0" noProof="0">
                <a:ln>
                  <a:noFill/>
                </a:ln>
                <a:solidFill>
                  <a:prstClr val="white"/>
                </a:solidFill>
                <a:effectLst/>
                <a:uLnTx/>
                <a:uFillTx/>
                <a:latin typeface="Arial Black"/>
                <a:ea typeface="+mn-ea"/>
                <a:cs typeface="+mn-cs"/>
              </a:rPr>
            </a:br>
            <a:r>
              <a:rPr kumimoji="0" lang="en-US" sz="1600" b="0" i="0" u="none" strike="noStrike" kern="1200" cap="none" spc="0" normalizeH="0" baseline="0" noProof="0">
                <a:ln>
                  <a:noFill/>
                </a:ln>
                <a:solidFill>
                  <a:prstClr val="white"/>
                </a:solidFill>
                <a:effectLst/>
                <a:uLnTx/>
                <a:uFillTx/>
                <a:latin typeface="Arial"/>
                <a:ea typeface="+mn-ea"/>
                <a:cs typeface="+mn-cs"/>
              </a:rPr>
              <a:t>Cost of operations are high, looking for can new offerings yield a positive ROI. </a:t>
            </a:r>
          </a:p>
        </p:txBody>
      </p:sp>
      <p:sp>
        <p:nvSpPr>
          <p:cNvPr id="58" name="Inhaltsplatzhalter 4">
            <a:extLst>
              <a:ext uri="{FF2B5EF4-FFF2-40B4-BE49-F238E27FC236}">
                <a16:creationId xmlns:a16="http://schemas.microsoft.com/office/drawing/2014/main" id="{19C3C9C0-FA10-53CE-BA0F-AAF845506836}"/>
              </a:ext>
            </a:extLst>
          </p:cNvPr>
          <p:cNvSpPr txBox="1">
            <a:spLocks/>
          </p:cNvSpPr>
          <p:nvPr/>
        </p:nvSpPr>
        <p:spPr>
          <a:xfrm>
            <a:off x="6096000" y="2732060"/>
            <a:ext cx="5688000" cy="673380"/>
          </a:xfrm>
          <a:prstGeom prst="rect">
            <a:avLst/>
          </a:prstGeom>
        </p:spPr>
        <p:txBody>
          <a:bodyPr wrap="square" lIns="36000" tIns="36000" rIns="36000" bIns="3600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20000"/>
              </a:lnSpc>
              <a:spcBef>
                <a:spcPts val="0"/>
              </a:spcBef>
              <a:spcAft>
                <a:spcPts val="100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DC202E"/>
                </a:solidFill>
                <a:effectLst/>
                <a:uLnTx/>
                <a:uFillTx/>
                <a:latin typeface="Arial Black"/>
                <a:ea typeface="+mn-ea"/>
                <a:cs typeface="+mn-cs"/>
              </a:rPr>
              <a:t>ADDRESS SKILL LABOR SHORTAGES</a:t>
            </a:r>
            <a:br>
              <a:rPr kumimoji="0" lang="en-US" sz="1800" b="1" i="0" u="none" strike="noStrike" kern="1200" cap="none" spc="0" normalizeH="0" baseline="0" noProof="0">
                <a:ln>
                  <a:noFill/>
                </a:ln>
                <a:solidFill>
                  <a:prstClr val="white"/>
                </a:solidFill>
                <a:effectLst/>
                <a:uLnTx/>
                <a:uFillTx/>
                <a:latin typeface="Arial Black"/>
                <a:ea typeface="+mn-ea"/>
                <a:cs typeface="+mn-cs"/>
              </a:rPr>
            </a:br>
            <a:r>
              <a:rPr kumimoji="0" lang="en-US" sz="1600" b="0" i="0" u="none" strike="noStrike" kern="1200" cap="none" spc="0" normalizeH="0" baseline="0" noProof="0">
                <a:ln>
                  <a:noFill/>
                </a:ln>
                <a:solidFill>
                  <a:prstClr val="white"/>
                </a:solidFill>
                <a:effectLst/>
                <a:uLnTx/>
                <a:uFillTx/>
                <a:latin typeface="Arial"/>
                <a:ea typeface="+mn-ea"/>
                <a:cs typeface="+mn-cs"/>
              </a:rPr>
              <a:t>Adapt my business model to the current job market. </a:t>
            </a:r>
          </a:p>
        </p:txBody>
      </p:sp>
      <p:sp>
        <p:nvSpPr>
          <p:cNvPr id="59" name="Inhaltsplatzhalter 4">
            <a:extLst>
              <a:ext uri="{FF2B5EF4-FFF2-40B4-BE49-F238E27FC236}">
                <a16:creationId xmlns:a16="http://schemas.microsoft.com/office/drawing/2014/main" id="{5CC84615-2F1E-EF57-1F10-A5A2309105C0}"/>
              </a:ext>
            </a:extLst>
          </p:cNvPr>
          <p:cNvSpPr txBox="1">
            <a:spLocks/>
          </p:cNvSpPr>
          <p:nvPr/>
        </p:nvSpPr>
        <p:spPr>
          <a:xfrm>
            <a:off x="6086901" y="3659682"/>
            <a:ext cx="5688000" cy="968846"/>
          </a:xfrm>
          <a:prstGeom prst="rect">
            <a:avLst/>
          </a:prstGeom>
        </p:spPr>
        <p:txBody>
          <a:bodyPr wrap="square" lIns="36000" tIns="36000" rIns="36000" bIns="3600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20000"/>
              </a:lnSpc>
              <a:spcBef>
                <a:spcPts val="0"/>
              </a:spcBef>
              <a:spcAft>
                <a:spcPts val="100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DC202E"/>
                </a:solidFill>
                <a:effectLst/>
                <a:uLnTx/>
                <a:uFillTx/>
                <a:latin typeface="Arial Black"/>
                <a:ea typeface="+mn-ea"/>
                <a:cs typeface="+mn-cs"/>
              </a:rPr>
              <a:t>INCREMENTAL GROWTH</a:t>
            </a:r>
            <a:br>
              <a:rPr kumimoji="0" lang="en-US" sz="1800" b="1" i="0" u="none" strike="noStrike" kern="1200" cap="none" spc="0" normalizeH="0" baseline="0" noProof="0">
                <a:ln>
                  <a:noFill/>
                </a:ln>
                <a:solidFill>
                  <a:prstClr val="white"/>
                </a:solidFill>
                <a:effectLst/>
                <a:uLnTx/>
                <a:uFillTx/>
                <a:latin typeface="Arial Black"/>
                <a:ea typeface="+mn-ea"/>
                <a:cs typeface="+mn-cs"/>
              </a:rPr>
            </a:br>
            <a:r>
              <a:rPr kumimoji="0" lang="en-US" sz="1600" b="0" i="0" u="none" strike="noStrike" kern="1200" cap="none" spc="0" normalizeH="0" baseline="0" noProof="0">
                <a:ln>
                  <a:noFill/>
                </a:ln>
                <a:solidFill>
                  <a:prstClr val="white"/>
                </a:solidFill>
                <a:effectLst/>
                <a:uLnTx/>
                <a:uFillTx/>
                <a:latin typeface="Arial"/>
                <a:ea typeface="+mn-ea"/>
                <a:cs typeface="+mn-cs"/>
              </a:rPr>
              <a:t>Offer additional services, expand my business and shorten sales acquisition times.</a:t>
            </a:r>
          </a:p>
        </p:txBody>
      </p:sp>
      <p:sp>
        <p:nvSpPr>
          <p:cNvPr id="60" name="Inhaltsplatzhalter 4">
            <a:extLst>
              <a:ext uri="{FF2B5EF4-FFF2-40B4-BE49-F238E27FC236}">
                <a16:creationId xmlns:a16="http://schemas.microsoft.com/office/drawing/2014/main" id="{85EFFDB4-8E09-916F-9D69-2193D6F8F247}"/>
              </a:ext>
            </a:extLst>
          </p:cNvPr>
          <p:cNvSpPr txBox="1">
            <a:spLocks/>
          </p:cNvSpPr>
          <p:nvPr/>
        </p:nvSpPr>
        <p:spPr>
          <a:xfrm>
            <a:off x="6086902" y="4835565"/>
            <a:ext cx="5688000" cy="673380"/>
          </a:xfrm>
          <a:prstGeom prst="rect">
            <a:avLst/>
          </a:prstGeom>
        </p:spPr>
        <p:txBody>
          <a:bodyPr wrap="square" lIns="36000" tIns="36000" rIns="36000" bIns="3600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20000"/>
              </a:lnSpc>
              <a:spcBef>
                <a:spcPts val="0"/>
              </a:spcBef>
              <a:spcAft>
                <a:spcPts val="100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DC202E"/>
                </a:solidFill>
                <a:effectLst/>
                <a:uLnTx/>
                <a:uFillTx/>
                <a:latin typeface="Arial Black"/>
                <a:ea typeface="+mn-ea"/>
                <a:cs typeface="+mn-cs"/>
              </a:rPr>
              <a:t>DIFFERENTIATE</a:t>
            </a:r>
            <a:br>
              <a:rPr kumimoji="0" lang="en-US" sz="1800" b="1" i="0" u="none" strike="noStrike" kern="1200" cap="none" spc="0" normalizeH="0" baseline="0" noProof="0">
                <a:ln>
                  <a:noFill/>
                </a:ln>
                <a:solidFill>
                  <a:prstClr val="white"/>
                </a:solidFill>
                <a:effectLst/>
                <a:uLnTx/>
                <a:uFillTx/>
                <a:latin typeface="Arial Black"/>
                <a:ea typeface="+mn-ea"/>
                <a:cs typeface="+mn-cs"/>
              </a:rPr>
            </a:br>
            <a:r>
              <a:rPr kumimoji="0" lang="en-US" sz="1600" b="0" i="0" u="none" strike="noStrike" kern="1200" cap="none" spc="0" normalizeH="0" baseline="0" noProof="0" err="1">
                <a:ln>
                  <a:noFill/>
                </a:ln>
                <a:solidFill>
                  <a:prstClr val="white"/>
                </a:solidFill>
                <a:effectLst/>
                <a:uLnTx/>
                <a:uFillTx/>
                <a:latin typeface="Arial"/>
                <a:ea typeface="+mn-ea"/>
                <a:cs typeface="+mn-cs"/>
              </a:rPr>
              <a:t>Differentiate</a:t>
            </a:r>
            <a:r>
              <a:rPr kumimoji="0" lang="en-US" sz="1600" b="0" i="0" u="none" strike="noStrike" kern="1200" cap="none" spc="0" normalizeH="0" baseline="0" noProof="0">
                <a:ln>
                  <a:noFill/>
                </a:ln>
                <a:solidFill>
                  <a:prstClr val="white"/>
                </a:solidFill>
                <a:effectLst/>
                <a:uLnTx/>
                <a:uFillTx/>
                <a:latin typeface="Arial"/>
                <a:ea typeface="+mn-ea"/>
                <a:cs typeface="+mn-cs"/>
              </a:rPr>
              <a:t> my service to retain and win new customers. </a:t>
            </a:r>
          </a:p>
        </p:txBody>
      </p:sp>
      <p:sp>
        <p:nvSpPr>
          <p:cNvPr id="3" name="Donut 4">
            <a:extLst>
              <a:ext uri="{FF2B5EF4-FFF2-40B4-BE49-F238E27FC236}">
                <a16:creationId xmlns:a16="http://schemas.microsoft.com/office/drawing/2014/main" id="{5FFC2E95-4AF8-239A-DBE1-335276FC9272}"/>
              </a:ext>
            </a:extLst>
          </p:cNvPr>
          <p:cNvSpPr/>
          <p:nvPr/>
        </p:nvSpPr>
        <p:spPr bwMode="auto">
          <a:xfrm>
            <a:off x="-733609" y="2770379"/>
            <a:ext cx="1544320" cy="1544320"/>
          </a:xfrm>
          <a:prstGeom prst="donut">
            <a:avLst>
              <a:gd name="adj" fmla="val 16037"/>
            </a:avLst>
          </a:prstGeom>
          <a:solidFill>
            <a:schemeClr val="accent2"/>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9" name="Donut 6">
            <a:extLst>
              <a:ext uri="{FF2B5EF4-FFF2-40B4-BE49-F238E27FC236}">
                <a16:creationId xmlns:a16="http://schemas.microsoft.com/office/drawing/2014/main" id="{81E71B1B-4282-2F62-7B87-29E630833074}"/>
              </a:ext>
            </a:extLst>
          </p:cNvPr>
          <p:cNvSpPr/>
          <p:nvPr/>
        </p:nvSpPr>
        <p:spPr bwMode="auto">
          <a:xfrm>
            <a:off x="-1256849" y="2247139"/>
            <a:ext cx="2590800" cy="2590800"/>
          </a:xfrm>
          <a:prstGeom prst="donut">
            <a:avLst>
              <a:gd name="adj" fmla="val 10270"/>
            </a:avLst>
          </a:prstGeom>
          <a:solidFill>
            <a:schemeClr val="accent3"/>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10" name="Donut 7">
            <a:extLst>
              <a:ext uri="{FF2B5EF4-FFF2-40B4-BE49-F238E27FC236}">
                <a16:creationId xmlns:a16="http://schemas.microsoft.com/office/drawing/2014/main" id="{C210BD16-CBD8-7411-2F7C-C827E90600CB}"/>
              </a:ext>
            </a:extLst>
          </p:cNvPr>
          <p:cNvSpPr/>
          <p:nvPr/>
        </p:nvSpPr>
        <p:spPr bwMode="auto">
          <a:xfrm>
            <a:off x="-1703889" y="1800099"/>
            <a:ext cx="3484880" cy="3484880"/>
          </a:xfrm>
          <a:prstGeom prst="donut">
            <a:avLst>
              <a:gd name="adj" fmla="val 6982"/>
            </a:avLst>
          </a:prstGeom>
          <a:solidFill>
            <a:schemeClr val="accent4"/>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11" name="Oval 10">
            <a:extLst>
              <a:ext uri="{FF2B5EF4-FFF2-40B4-BE49-F238E27FC236}">
                <a16:creationId xmlns:a16="http://schemas.microsoft.com/office/drawing/2014/main" id="{A1E8586D-A3D1-B644-E5C7-90AD583C1190}"/>
              </a:ext>
            </a:extLst>
          </p:cNvPr>
          <p:cNvSpPr/>
          <p:nvPr/>
        </p:nvSpPr>
        <p:spPr bwMode="auto">
          <a:xfrm>
            <a:off x="-249315" y="3254672"/>
            <a:ext cx="575733" cy="575733"/>
          </a:xfrm>
          <a:prstGeom prst="ellipse">
            <a:avLst/>
          </a:prstGeom>
          <a:solidFill>
            <a:schemeClr val="accent1"/>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B8FB3279-66B3-4A34-9202-0F25BCE666CD}"/>
              </a:ext>
            </a:extLst>
          </p:cNvPr>
          <p:cNvSpPr txBox="1"/>
          <p:nvPr/>
        </p:nvSpPr>
        <p:spPr>
          <a:xfrm>
            <a:off x="1842062" y="2171557"/>
            <a:ext cx="3960269" cy="2677656"/>
          </a:xfrm>
          <a:prstGeom prst="rect">
            <a:avLst/>
          </a:prstGeom>
          <a:noFill/>
        </p:spPr>
        <p:txBody>
          <a:bodyPr wrap="square" lIns="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Growing service and project business</a:t>
            </a: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Increasing margins</a:t>
            </a: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Delivering maximum value to customers</a:t>
            </a: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Winning and retaining customers</a:t>
            </a: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Solve for digital workforce needs </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700545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8" grpId="0"/>
      <p:bldP spid="59" grpId="0"/>
      <p:bldP spid="60"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16000" r="-16000"/>
          </a:stretch>
        </a:blipFill>
        <a:effectLst/>
      </p:bgPr>
    </p:bg>
    <p:spTree>
      <p:nvGrpSpPr>
        <p:cNvPr id="1" name="">
          <a:extLst>
            <a:ext uri="{FF2B5EF4-FFF2-40B4-BE49-F238E27FC236}">
              <a16:creationId xmlns:a16="http://schemas.microsoft.com/office/drawing/2014/main" id="{103693E8-2A1B-424C-B699-B039B0A3FAD8}"/>
            </a:ext>
          </a:extLst>
        </p:cNvPr>
        <p:cNvGrpSpPr/>
        <p:nvPr/>
      </p:nvGrpSpPr>
      <p:grpSpPr>
        <a:xfrm>
          <a:off x="0" y="0"/>
          <a:ext cx="0" cy="0"/>
          <a:chOff x="0" y="0"/>
          <a:chExt cx="0" cy="0"/>
        </a:xfrm>
      </p:grpSpPr>
      <p:graphicFrame>
        <p:nvGraphicFramePr>
          <p:cNvPr id="96" name="think-cell data - do not delete" hidden="1">
            <a:extLst>
              <a:ext uri="{FF2B5EF4-FFF2-40B4-BE49-F238E27FC236}">
                <a16:creationId xmlns:a16="http://schemas.microsoft.com/office/drawing/2014/main" id="{DC07CAED-5135-54B8-FBC8-F0A35C068A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6" name="think-cell data - do not delete" hidden="1">
                        <a:extLst>
                          <a:ext uri="{FF2B5EF4-FFF2-40B4-BE49-F238E27FC236}">
                            <a16:creationId xmlns:a16="http://schemas.microsoft.com/office/drawing/2014/main" id="{DC07CAED-5135-54B8-FBC8-F0A35C068A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99F12D-0E9A-AB17-5C3B-75DCBDA3BDBC}"/>
              </a:ext>
            </a:extLst>
          </p:cNvPr>
          <p:cNvSpPr>
            <a:spLocks noGrp="1"/>
          </p:cNvSpPr>
          <p:nvPr>
            <p:ph type="title"/>
          </p:nvPr>
        </p:nvSpPr>
        <p:spPr>
          <a:xfrm>
            <a:off x="557784" y="347472"/>
            <a:ext cx="11594764" cy="402095"/>
          </a:xfrm>
        </p:spPr>
        <p:txBody>
          <a:bodyPr vert="horz"/>
          <a:lstStyle/>
          <a:p>
            <a:r>
              <a:rPr lang="en-US" sz="2800">
                <a:solidFill>
                  <a:schemeClr val="bg1"/>
                </a:solidFill>
              </a:rPr>
              <a:t>learnings</a:t>
            </a:r>
            <a:br>
              <a:rPr lang="en-US" sz="2800"/>
            </a:br>
            <a:endParaRPr lang="en-US" sz="2800">
              <a:solidFill>
                <a:schemeClr val="bg1"/>
              </a:solidFill>
            </a:endParaRPr>
          </a:p>
        </p:txBody>
      </p:sp>
      <p:sp>
        <p:nvSpPr>
          <p:cNvPr id="4" name="Content Placeholder 8">
            <a:extLst>
              <a:ext uri="{FF2B5EF4-FFF2-40B4-BE49-F238E27FC236}">
                <a16:creationId xmlns:a16="http://schemas.microsoft.com/office/drawing/2014/main" id="{52CAAB36-C7F1-43AC-9DE5-F65FDD56EFAD}"/>
              </a:ext>
            </a:extLst>
          </p:cNvPr>
          <p:cNvSpPr txBox="1">
            <a:spLocks/>
          </p:cNvSpPr>
          <p:nvPr/>
        </p:nvSpPr>
        <p:spPr>
          <a:xfrm>
            <a:off x="451583" y="4223480"/>
            <a:ext cx="5540424" cy="212423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spcAft>
                <a:spcPts val="0"/>
              </a:spcAft>
              <a:buSzPct val="100000"/>
              <a:buFont typeface="Arial" panose="020B0604020202020204" pitchFamily="34" charset="0"/>
              <a:buChar char="•"/>
              <a:defRPr/>
            </a:pPr>
            <a:r>
              <a:rPr lang="en-GB" sz="1800">
                <a:solidFill>
                  <a:schemeClr val="bg1"/>
                </a:solidFill>
                <a:latin typeface="Arial"/>
              </a:rPr>
              <a:t>Limited self-serve capabilities </a:t>
            </a:r>
          </a:p>
          <a:p>
            <a:pPr marL="285750" indent="-285750">
              <a:lnSpc>
                <a:spcPct val="150000"/>
              </a:lnSpc>
              <a:spcAft>
                <a:spcPts val="0"/>
              </a:spcAft>
              <a:buSzPct val="100000"/>
              <a:buFont typeface="Arial" panose="020B0604020202020204" pitchFamily="34" charset="0"/>
              <a:buChar char="•"/>
              <a:defRPr/>
            </a:pPr>
            <a:r>
              <a:rPr lang="en-GB" sz="1800">
                <a:solidFill>
                  <a:schemeClr val="bg1"/>
                </a:solidFill>
                <a:latin typeface="Arial"/>
              </a:rPr>
              <a:t>Partial User &amp;  Subscription management</a:t>
            </a:r>
          </a:p>
        </p:txBody>
      </p:sp>
      <p:sp>
        <p:nvSpPr>
          <p:cNvPr id="5" name="Content Placeholder 14">
            <a:extLst>
              <a:ext uri="{FF2B5EF4-FFF2-40B4-BE49-F238E27FC236}">
                <a16:creationId xmlns:a16="http://schemas.microsoft.com/office/drawing/2014/main" id="{311001E6-4184-0D23-A58C-2A7B3F5ED208}"/>
              </a:ext>
            </a:extLst>
          </p:cNvPr>
          <p:cNvSpPr txBox="1">
            <a:spLocks/>
          </p:cNvSpPr>
          <p:nvPr/>
        </p:nvSpPr>
        <p:spPr>
          <a:xfrm>
            <a:off x="464835" y="1336236"/>
            <a:ext cx="5540424" cy="204145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spcAft>
                <a:spcPts val="0"/>
              </a:spcAft>
              <a:buSzPct val="100000"/>
              <a:buFont typeface="Arial" panose="020B0604020202020204" pitchFamily="34" charset="0"/>
              <a:buChar char="•"/>
              <a:defRPr/>
            </a:pPr>
            <a:r>
              <a:rPr lang="en-US" sz="1800">
                <a:solidFill>
                  <a:schemeClr val="bg1"/>
                </a:solidFill>
                <a:latin typeface="Arial"/>
              </a:rPr>
              <a:t>Manual Ordering Process </a:t>
            </a:r>
            <a:r>
              <a:rPr lang="en-GB" sz="1800">
                <a:solidFill>
                  <a:schemeClr val="bg1"/>
                </a:solidFill>
                <a:latin typeface="Arial"/>
              </a:rPr>
              <a:t>takes up to 7 days causing frustration </a:t>
            </a:r>
          </a:p>
          <a:p>
            <a:pPr marL="285750" indent="-285750">
              <a:lnSpc>
                <a:spcPct val="150000"/>
              </a:lnSpc>
              <a:spcAft>
                <a:spcPts val="0"/>
              </a:spcAft>
              <a:buSzPct val="100000"/>
              <a:buFont typeface="Arial" panose="020B0604020202020204" pitchFamily="34" charset="0"/>
              <a:buChar char="•"/>
              <a:defRPr/>
            </a:pPr>
            <a:r>
              <a:rPr lang="en-GB" sz="1800">
                <a:solidFill>
                  <a:schemeClr val="bg1"/>
                </a:solidFill>
                <a:latin typeface="Arial"/>
              </a:rPr>
              <a:t>Limitations in modifications of ongoing subscription making it a manual request</a:t>
            </a:r>
          </a:p>
          <a:p>
            <a:endParaRPr lang="en-US">
              <a:solidFill>
                <a:schemeClr val="bg1"/>
              </a:solidFill>
              <a:latin typeface="+mj-lt"/>
            </a:endParaRPr>
          </a:p>
        </p:txBody>
      </p:sp>
      <p:sp>
        <p:nvSpPr>
          <p:cNvPr id="6" name="Content Placeholder 15">
            <a:extLst>
              <a:ext uri="{FF2B5EF4-FFF2-40B4-BE49-F238E27FC236}">
                <a16:creationId xmlns:a16="http://schemas.microsoft.com/office/drawing/2014/main" id="{2D5FAB99-83E9-F273-3C4B-80EB84199950}"/>
              </a:ext>
            </a:extLst>
          </p:cNvPr>
          <p:cNvSpPr txBox="1">
            <a:spLocks/>
          </p:cNvSpPr>
          <p:nvPr/>
        </p:nvSpPr>
        <p:spPr>
          <a:xfrm>
            <a:off x="6145621" y="4223480"/>
            <a:ext cx="5540424" cy="212423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spcAft>
                <a:spcPts val="0"/>
              </a:spcAft>
              <a:buSzPct val="100000"/>
              <a:buFont typeface="Arial" panose="020B0604020202020204" pitchFamily="34" charset="0"/>
              <a:buChar char="•"/>
              <a:defRPr/>
            </a:pPr>
            <a:r>
              <a:rPr lang="en-US" sz="1800">
                <a:solidFill>
                  <a:schemeClr val="bg1"/>
                </a:solidFill>
                <a:latin typeface="Arial"/>
              </a:rPr>
              <a:t>Multiple Independent Apps</a:t>
            </a:r>
          </a:p>
          <a:p>
            <a:pPr marL="285750" indent="-285750">
              <a:lnSpc>
                <a:spcPct val="150000"/>
              </a:lnSpc>
              <a:spcAft>
                <a:spcPts val="0"/>
              </a:spcAft>
              <a:buSzPct val="100000"/>
              <a:buFont typeface="Arial" panose="020B0604020202020204" pitchFamily="34" charset="0"/>
              <a:buChar char="•"/>
              <a:defRPr/>
            </a:pPr>
            <a:r>
              <a:rPr lang="en-US" sz="1800">
                <a:solidFill>
                  <a:schemeClr val="bg1"/>
                </a:solidFill>
                <a:latin typeface="Arial"/>
              </a:rPr>
              <a:t>Limited Domain Specific Apps</a:t>
            </a:r>
          </a:p>
          <a:p>
            <a:pPr marL="285750" indent="-285750">
              <a:lnSpc>
                <a:spcPct val="150000"/>
              </a:lnSpc>
              <a:spcAft>
                <a:spcPts val="0"/>
              </a:spcAft>
              <a:buSzPct val="100000"/>
              <a:buFont typeface="Arial" panose="020B0604020202020204" pitchFamily="34" charset="0"/>
              <a:buChar char="•"/>
              <a:defRPr/>
            </a:pPr>
            <a:r>
              <a:rPr lang="en-US" sz="1800">
                <a:solidFill>
                  <a:schemeClr val="bg1"/>
                </a:solidFill>
                <a:latin typeface="Arial"/>
              </a:rPr>
              <a:t>No Partner Value Creation Model</a:t>
            </a:r>
            <a:endParaRPr lang="en-GB" sz="1800">
              <a:solidFill>
                <a:schemeClr val="bg1"/>
              </a:solidFill>
              <a:latin typeface="Arial"/>
            </a:endParaRPr>
          </a:p>
          <a:p>
            <a:endParaRPr lang="en-US" sz="1800">
              <a:solidFill>
                <a:schemeClr val="bg1"/>
              </a:solidFill>
              <a:latin typeface="+mj-lt"/>
            </a:endParaRPr>
          </a:p>
        </p:txBody>
      </p:sp>
      <p:sp>
        <p:nvSpPr>
          <p:cNvPr id="7" name="Content Placeholder 16">
            <a:extLst>
              <a:ext uri="{FF2B5EF4-FFF2-40B4-BE49-F238E27FC236}">
                <a16:creationId xmlns:a16="http://schemas.microsoft.com/office/drawing/2014/main" id="{210309E2-F816-9077-F3AA-BF5ED2392A20}"/>
              </a:ext>
            </a:extLst>
          </p:cNvPr>
          <p:cNvSpPr txBox="1">
            <a:spLocks/>
          </p:cNvSpPr>
          <p:nvPr/>
        </p:nvSpPr>
        <p:spPr>
          <a:xfrm>
            <a:off x="6132369" y="1336236"/>
            <a:ext cx="5540424" cy="259965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464" indent="-283464">
              <a:lnSpc>
                <a:spcPct val="150000"/>
              </a:lnSpc>
              <a:buFont typeface="Arial" panose="020B0604020202020204" pitchFamily="34" charset="0"/>
              <a:buChar char="•"/>
            </a:pPr>
            <a:r>
              <a:rPr lang="en-US" sz="1800">
                <a:solidFill>
                  <a:schemeClr val="bg1"/>
                </a:solidFill>
                <a:latin typeface="Arial" panose="020B0604020202020204" pitchFamily="34" charset="0"/>
              </a:rPr>
              <a:t>Frequent issues with first-time success lead to frustration among engineers.</a:t>
            </a:r>
          </a:p>
          <a:p>
            <a:pPr marL="283464" indent="-283464">
              <a:lnSpc>
                <a:spcPct val="150000"/>
              </a:lnSpc>
              <a:buFont typeface="Arial" panose="020B0604020202020204" pitchFamily="34" charset="0"/>
              <a:buChar char="•"/>
            </a:pPr>
            <a:r>
              <a:rPr lang="en-US" sz="1800">
                <a:solidFill>
                  <a:schemeClr val="bg1"/>
                </a:solidFill>
                <a:latin typeface="Arial" panose="020B0604020202020204" pitchFamily="34" charset="0"/>
              </a:rPr>
              <a:t>The complicated commissioning process necessitates a more skilled engineer.</a:t>
            </a:r>
          </a:p>
          <a:p>
            <a:pPr marL="283464" indent="-283464">
              <a:lnSpc>
                <a:spcPct val="150000"/>
              </a:lnSpc>
              <a:buFont typeface="Arial" panose="020B0604020202020204" pitchFamily="34" charset="0"/>
              <a:buChar char="•"/>
            </a:pPr>
            <a:r>
              <a:rPr lang="en-US" sz="1800">
                <a:solidFill>
                  <a:schemeClr val="bg1"/>
                </a:solidFill>
                <a:latin typeface="Arial" panose="020B0604020202020204" pitchFamily="34" charset="0"/>
              </a:rPr>
              <a:t>In some cases, cost of gateways is a big issue</a:t>
            </a:r>
          </a:p>
          <a:p>
            <a:br>
              <a:rPr lang="en-US" sz="1800">
                <a:solidFill>
                  <a:schemeClr val="bg1"/>
                </a:solidFill>
                <a:latin typeface="Arial" panose="020B0604020202020204" pitchFamily="34" charset="0"/>
              </a:rPr>
            </a:br>
            <a:endParaRPr lang="en-US">
              <a:solidFill>
                <a:schemeClr val="bg1"/>
              </a:solidFill>
              <a:latin typeface="+mj-lt"/>
            </a:endParaRPr>
          </a:p>
        </p:txBody>
      </p:sp>
      <p:sp>
        <p:nvSpPr>
          <p:cNvPr id="8" name="Rectangle 7">
            <a:extLst>
              <a:ext uri="{FF2B5EF4-FFF2-40B4-BE49-F238E27FC236}">
                <a16:creationId xmlns:a16="http://schemas.microsoft.com/office/drawing/2014/main" id="{BCDFCD35-7B32-8270-3D0E-873E069F4A7A}"/>
              </a:ext>
            </a:extLst>
          </p:cNvPr>
          <p:cNvSpPr/>
          <p:nvPr/>
        </p:nvSpPr>
        <p:spPr>
          <a:xfrm>
            <a:off x="578584" y="870745"/>
            <a:ext cx="5100894" cy="4953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a:solidFill>
                  <a:schemeClr val="accent1"/>
                </a:solidFill>
                <a:latin typeface="+mj-lt"/>
              </a:rPr>
              <a:t>ORDERING</a:t>
            </a:r>
            <a:endParaRPr lang="en-US" sz="2800" err="1">
              <a:solidFill>
                <a:schemeClr val="accent1"/>
              </a:solidFill>
              <a:latin typeface="+mj-lt"/>
            </a:endParaRPr>
          </a:p>
        </p:txBody>
      </p:sp>
      <p:sp>
        <p:nvSpPr>
          <p:cNvPr id="13" name="Oval 12">
            <a:extLst>
              <a:ext uri="{FF2B5EF4-FFF2-40B4-BE49-F238E27FC236}">
                <a16:creationId xmlns:a16="http://schemas.microsoft.com/office/drawing/2014/main" id="{FEB668F8-5BEA-034B-DC58-81510F01A298}"/>
              </a:ext>
            </a:extLst>
          </p:cNvPr>
          <p:cNvSpPr/>
          <p:nvPr/>
        </p:nvSpPr>
        <p:spPr>
          <a:xfrm>
            <a:off x="375549" y="813362"/>
            <a:ext cx="406070" cy="4060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1 </a:t>
            </a:r>
          </a:p>
        </p:txBody>
      </p:sp>
      <p:sp>
        <p:nvSpPr>
          <p:cNvPr id="14" name="Rectangle 13">
            <a:extLst>
              <a:ext uri="{FF2B5EF4-FFF2-40B4-BE49-F238E27FC236}">
                <a16:creationId xmlns:a16="http://schemas.microsoft.com/office/drawing/2014/main" id="{C532651E-60B4-AFDE-7167-14DFD78B9BFC}"/>
              </a:ext>
            </a:extLst>
          </p:cNvPr>
          <p:cNvSpPr/>
          <p:nvPr/>
        </p:nvSpPr>
        <p:spPr>
          <a:xfrm>
            <a:off x="6322043" y="876532"/>
            <a:ext cx="5100894" cy="4953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a:solidFill>
                  <a:schemeClr val="accent1"/>
                </a:solidFill>
                <a:latin typeface="+mj-lt"/>
              </a:rPr>
              <a:t>CONNECTIVITY</a:t>
            </a:r>
            <a:endParaRPr lang="en-US" sz="2800" err="1">
              <a:solidFill>
                <a:schemeClr val="accent1"/>
              </a:solidFill>
              <a:latin typeface="+mj-lt"/>
            </a:endParaRPr>
          </a:p>
        </p:txBody>
      </p:sp>
      <p:sp>
        <p:nvSpPr>
          <p:cNvPr id="16" name="Oval 15">
            <a:extLst>
              <a:ext uri="{FF2B5EF4-FFF2-40B4-BE49-F238E27FC236}">
                <a16:creationId xmlns:a16="http://schemas.microsoft.com/office/drawing/2014/main" id="{78E6234A-AFD5-92F5-C790-D1FA39C17347}"/>
              </a:ext>
            </a:extLst>
          </p:cNvPr>
          <p:cNvSpPr/>
          <p:nvPr/>
        </p:nvSpPr>
        <p:spPr>
          <a:xfrm>
            <a:off x="6119008" y="819149"/>
            <a:ext cx="406070" cy="4060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prstClr val="white"/>
                </a:solidFill>
                <a:latin typeface="Arial Black"/>
              </a:rPr>
              <a:t>2</a:t>
            </a:r>
            <a:r>
              <a:rPr kumimoji="0" lang="en-US" sz="1800" b="0" i="0" u="none" strike="noStrike" kern="1200" cap="none" spc="0" normalizeH="0" baseline="0" noProof="0">
                <a:ln>
                  <a:noFill/>
                </a:ln>
                <a:solidFill>
                  <a:prstClr val="white"/>
                </a:solidFill>
                <a:effectLst/>
                <a:uLnTx/>
                <a:uFillTx/>
                <a:latin typeface="Arial Black"/>
                <a:ea typeface="+mn-ea"/>
                <a:cs typeface="+mn-cs"/>
              </a:rPr>
              <a:t> </a:t>
            </a:r>
          </a:p>
        </p:txBody>
      </p:sp>
      <p:sp>
        <p:nvSpPr>
          <p:cNvPr id="17" name="Rectangle 16">
            <a:extLst>
              <a:ext uri="{FF2B5EF4-FFF2-40B4-BE49-F238E27FC236}">
                <a16:creationId xmlns:a16="http://schemas.microsoft.com/office/drawing/2014/main" id="{63C4678D-0BC2-A0BB-FD23-362DBDDE9BE5}"/>
              </a:ext>
            </a:extLst>
          </p:cNvPr>
          <p:cNvSpPr/>
          <p:nvPr/>
        </p:nvSpPr>
        <p:spPr>
          <a:xfrm>
            <a:off x="6334858" y="3699720"/>
            <a:ext cx="5100894" cy="4953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a:solidFill>
                  <a:schemeClr val="accent1"/>
                </a:solidFill>
                <a:latin typeface="+mj-lt"/>
              </a:rPr>
              <a:t>APPS</a:t>
            </a:r>
            <a:endParaRPr lang="en-US" sz="2800" err="1">
              <a:solidFill>
                <a:schemeClr val="accent1"/>
              </a:solidFill>
              <a:latin typeface="+mj-lt"/>
            </a:endParaRPr>
          </a:p>
        </p:txBody>
      </p:sp>
      <p:sp>
        <p:nvSpPr>
          <p:cNvPr id="18" name="Oval 17">
            <a:extLst>
              <a:ext uri="{FF2B5EF4-FFF2-40B4-BE49-F238E27FC236}">
                <a16:creationId xmlns:a16="http://schemas.microsoft.com/office/drawing/2014/main" id="{69206488-380A-9E2E-0591-ACD68634154B}"/>
              </a:ext>
            </a:extLst>
          </p:cNvPr>
          <p:cNvSpPr/>
          <p:nvPr/>
        </p:nvSpPr>
        <p:spPr>
          <a:xfrm>
            <a:off x="6131823" y="3642337"/>
            <a:ext cx="406070" cy="4060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prstClr val="white"/>
                </a:solidFill>
                <a:latin typeface="Arial Black"/>
              </a:rPr>
              <a:t>4</a:t>
            </a:r>
            <a:r>
              <a:rPr kumimoji="0" lang="en-US" sz="1800" b="0" i="0" u="none" strike="noStrike" kern="1200" cap="none" spc="0" normalizeH="0" baseline="0" noProof="0">
                <a:ln>
                  <a:noFill/>
                </a:ln>
                <a:solidFill>
                  <a:prstClr val="white"/>
                </a:solidFill>
                <a:effectLst/>
                <a:uLnTx/>
                <a:uFillTx/>
                <a:latin typeface="Arial Black"/>
                <a:ea typeface="+mn-ea"/>
                <a:cs typeface="+mn-cs"/>
              </a:rPr>
              <a:t> </a:t>
            </a:r>
          </a:p>
        </p:txBody>
      </p:sp>
      <p:sp>
        <p:nvSpPr>
          <p:cNvPr id="19" name="Rectangle 18">
            <a:extLst>
              <a:ext uri="{FF2B5EF4-FFF2-40B4-BE49-F238E27FC236}">
                <a16:creationId xmlns:a16="http://schemas.microsoft.com/office/drawing/2014/main" id="{8C6963F8-57E4-2046-0BDC-A8122AAADAD6}"/>
              </a:ext>
            </a:extLst>
          </p:cNvPr>
          <p:cNvSpPr/>
          <p:nvPr/>
        </p:nvSpPr>
        <p:spPr>
          <a:xfrm>
            <a:off x="578584" y="3699720"/>
            <a:ext cx="5100894" cy="4953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a:solidFill>
                  <a:schemeClr val="accent1"/>
                </a:solidFill>
                <a:latin typeface="+mj-lt"/>
              </a:rPr>
              <a:t>SELF SERVICE</a:t>
            </a:r>
            <a:endParaRPr lang="en-US" sz="2800" err="1">
              <a:solidFill>
                <a:schemeClr val="accent1"/>
              </a:solidFill>
              <a:latin typeface="+mj-lt"/>
            </a:endParaRPr>
          </a:p>
        </p:txBody>
      </p:sp>
      <p:sp>
        <p:nvSpPr>
          <p:cNvPr id="20" name="Oval 19">
            <a:extLst>
              <a:ext uri="{FF2B5EF4-FFF2-40B4-BE49-F238E27FC236}">
                <a16:creationId xmlns:a16="http://schemas.microsoft.com/office/drawing/2014/main" id="{E5F58ED6-7925-9E01-3ED5-5B0DFD270276}"/>
              </a:ext>
            </a:extLst>
          </p:cNvPr>
          <p:cNvSpPr/>
          <p:nvPr/>
        </p:nvSpPr>
        <p:spPr>
          <a:xfrm>
            <a:off x="375549" y="3642337"/>
            <a:ext cx="406070" cy="4060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prstClr val="white"/>
                </a:solidFill>
                <a:latin typeface="Arial Black"/>
              </a:rPr>
              <a:t>3</a:t>
            </a:r>
            <a:r>
              <a:rPr kumimoji="0" lang="en-US" sz="1800" b="0" i="0" u="none" strike="noStrike" kern="1200" cap="none" spc="0" normalizeH="0" baseline="0" noProof="0">
                <a:ln>
                  <a:noFill/>
                </a:ln>
                <a:solidFill>
                  <a:prstClr val="white"/>
                </a:solidFill>
                <a:effectLst/>
                <a:uLnTx/>
                <a:uFillTx/>
                <a:latin typeface="Arial Black"/>
                <a:ea typeface="+mn-ea"/>
                <a:cs typeface="+mn-cs"/>
              </a:rPr>
              <a:t> </a:t>
            </a:r>
          </a:p>
        </p:txBody>
      </p:sp>
    </p:spTree>
    <p:extLst>
      <p:ext uri="{BB962C8B-B14F-4D97-AF65-F5344CB8AC3E}">
        <p14:creationId xmlns:p14="http://schemas.microsoft.com/office/powerpoint/2010/main" val="1315359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17371-E86E-5837-2452-9672B2380666}"/>
            </a:ext>
          </a:extLst>
        </p:cNvPr>
        <p:cNvGrpSpPr/>
        <p:nvPr/>
      </p:nvGrpSpPr>
      <p:grpSpPr>
        <a:xfrm>
          <a:off x="0" y="0"/>
          <a:ext cx="0" cy="0"/>
          <a:chOff x="0" y="0"/>
          <a:chExt cx="0" cy="0"/>
        </a:xfrm>
      </p:grpSpPr>
      <p:graphicFrame>
        <p:nvGraphicFramePr>
          <p:cNvPr id="96" name="think-cell data - do not delete" hidden="1">
            <a:extLst>
              <a:ext uri="{FF2B5EF4-FFF2-40B4-BE49-F238E27FC236}">
                <a16:creationId xmlns:a16="http://schemas.microsoft.com/office/drawing/2014/main" id="{C83DAA6C-DB87-A388-0333-4B88C4291C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6" name="think-cell data - do not delete" hidden="1">
                        <a:extLst>
                          <a:ext uri="{FF2B5EF4-FFF2-40B4-BE49-F238E27FC236}">
                            <a16:creationId xmlns:a16="http://schemas.microsoft.com/office/drawing/2014/main" id="{C83DAA6C-DB87-A388-0333-4B88C4291C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785D8E-B641-6B18-CA63-460A17B55831}"/>
              </a:ext>
            </a:extLst>
          </p:cNvPr>
          <p:cNvSpPr>
            <a:spLocks noGrp="1"/>
          </p:cNvSpPr>
          <p:nvPr>
            <p:ph type="title"/>
          </p:nvPr>
        </p:nvSpPr>
        <p:spPr>
          <a:xfrm>
            <a:off x="445300" y="501877"/>
            <a:ext cx="11594764" cy="353174"/>
          </a:xfrm>
        </p:spPr>
        <p:txBody>
          <a:bodyPr vert="horz"/>
          <a:lstStyle/>
          <a:p>
            <a:r>
              <a:rPr lang="en-US" sz="2800"/>
              <a:t>What’s Changed: LAUNCHING OUR HOLISTIC APPROACH</a:t>
            </a:r>
          </a:p>
        </p:txBody>
      </p:sp>
      <p:grpSp>
        <p:nvGrpSpPr>
          <p:cNvPr id="3" name="Group 2">
            <a:extLst>
              <a:ext uri="{FF2B5EF4-FFF2-40B4-BE49-F238E27FC236}">
                <a16:creationId xmlns:a16="http://schemas.microsoft.com/office/drawing/2014/main" id="{BBBC4745-BF77-7063-5E2E-72CD31052890}"/>
              </a:ext>
            </a:extLst>
          </p:cNvPr>
          <p:cNvGrpSpPr/>
          <p:nvPr/>
        </p:nvGrpSpPr>
        <p:grpSpPr>
          <a:xfrm>
            <a:off x="1096136" y="1822514"/>
            <a:ext cx="2314800" cy="3900341"/>
            <a:chOff x="1096136" y="1822514"/>
            <a:chExt cx="2314800" cy="3900341"/>
          </a:xfrm>
        </p:grpSpPr>
        <p:sp>
          <p:nvSpPr>
            <p:cNvPr id="69" name="Rounded Rectangle 38">
              <a:extLst>
                <a:ext uri="{FF2B5EF4-FFF2-40B4-BE49-F238E27FC236}">
                  <a16:creationId xmlns:a16="http://schemas.microsoft.com/office/drawing/2014/main" id="{FEECDBB4-BE40-85FF-BF59-A312AAF0E5BA}"/>
                </a:ext>
              </a:extLst>
            </p:cNvPr>
            <p:cNvSpPr/>
            <p:nvPr/>
          </p:nvSpPr>
          <p:spPr>
            <a:xfrm>
              <a:off x="1097083" y="1822514"/>
              <a:ext cx="2312907" cy="3900341"/>
            </a:xfrm>
            <a:prstGeom prst="roundRect">
              <a:avLst>
                <a:gd name="adj" fmla="val 556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3" name="Inhaltsplatzhalter 4">
              <a:extLst>
                <a:ext uri="{FF2B5EF4-FFF2-40B4-BE49-F238E27FC236}">
                  <a16:creationId xmlns:a16="http://schemas.microsoft.com/office/drawing/2014/main" id="{E1C6491A-7A99-EB68-07C2-1093C96DD6B6}"/>
                </a:ext>
              </a:extLst>
            </p:cNvPr>
            <p:cNvSpPr txBox="1">
              <a:spLocks/>
            </p:cNvSpPr>
            <p:nvPr/>
          </p:nvSpPr>
          <p:spPr>
            <a:xfrm>
              <a:off x="1096136" y="2080668"/>
              <a:ext cx="2314800" cy="565146"/>
            </a:xfrm>
            <a:prstGeom prst="rect">
              <a:avLst/>
            </a:prstGeom>
          </p:spPr>
          <p:txBody>
            <a:bodyPr wrap="square" lIns="36000" tIns="36000" rIns="36000" bIns="3600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Arial Black"/>
                  <a:ea typeface="+mn-ea"/>
                  <a:cs typeface="+mn-cs"/>
                </a:rPr>
                <a:t>FRICTIONLESS CONNECTIVITY</a:t>
              </a:r>
              <a:endParaRPr kumimoji="0"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78" name="Inhaltsplatzhalter 4">
              <a:extLst>
                <a:ext uri="{FF2B5EF4-FFF2-40B4-BE49-F238E27FC236}">
                  <a16:creationId xmlns:a16="http://schemas.microsoft.com/office/drawing/2014/main" id="{2F45BD64-03AD-A70F-5E95-223FCBF67F5D}"/>
                </a:ext>
              </a:extLst>
            </p:cNvPr>
            <p:cNvSpPr txBox="1">
              <a:spLocks/>
            </p:cNvSpPr>
            <p:nvPr/>
          </p:nvSpPr>
          <p:spPr>
            <a:xfrm>
              <a:off x="1096136" y="4497655"/>
              <a:ext cx="2314800" cy="1154606"/>
            </a:xfrm>
            <a:prstGeom prst="rect">
              <a:avLst/>
            </a:prstGeom>
          </p:spPr>
          <p:txBody>
            <a:bodyPr wrap="square" lIns="36000" tIns="36000" rIns="3600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From days to hours</a:t>
              </a:r>
            </a:p>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Cybersecure  </a:t>
              </a:r>
            </a:p>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No reprogramming in </a:t>
              </a:r>
              <a:br>
                <a:rPr kumimoji="0" lang="en-US" sz="1400" b="0" i="0" u="none" strike="noStrike" kern="1200" cap="none" spc="0" normalizeH="0" baseline="0" noProof="0">
                  <a:ln>
                    <a:noFill/>
                  </a:ln>
                  <a:solidFill>
                    <a:prstClr val="white"/>
                  </a:solidFill>
                  <a:effectLst/>
                  <a:uLnTx/>
                  <a:uFillTx/>
                  <a:latin typeface="+mn-lt"/>
                  <a:ea typeface="+mn-ea"/>
                  <a:cs typeface="+mn-cs"/>
                </a:rPr>
              </a:br>
              <a:r>
                <a:rPr kumimoji="0" lang="en-US" sz="1400" b="0" i="0" u="none" strike="noStrike" kern="1200" cap="none" spc="0" normalizeH="0" baseline="0" noProof="0">
                  <a:ln>
                    <a:noFill/>
                  </a:ln>
                  <a:solidFill>
                    <a:prstClr val="white"/>
                  </a:solidFill>
                  <a:effectLst/>
                  <a:uLnTx/>
                  <a:uFillTx/>
                  <a:latin typeface="+mn-lt"/>
                  <a:ea typeface="+mn-ea"/>
                  <a:cs typeface="+mn-cs"/>
                </a:rPr>
                <a:t>the field</a:t>
              </a:r>
            </a:p>
          </p:txBody>
        </p:sp>
        <p:sp>
          <p:nvSpPr>
            <p:cNvPr id="6" name="Freeform 21">
              <a:extLst>
                <a:ext uri="{FF2B5EF4-FFF2-40B4-BE49-F238E27FC236}">
                  <a16:creationId xmlns:a16="http://schemas.microsoft.com/office/drawing/2014/main" id="{DDEE81C2-3207-E248-A925-317A6BB3F318}"/>
                </a:ext>
              </a:extLst>
            </p:cNvPr>
            <p:cNvSpPr>
              <a:spLocks noEditPoints="1"/>
            </p:cNvSpPr>
            <p:nvPr/>
          </p:nvSpPr>
          <p:spPr bwMode="auto">
            <a:xfrm>
              <a:off x="1857176" y="3238565"/>
              <a:ext cx="792721" cy="792720"/>
            </a:xfrm>
            <a:custGeom>
              <a:avLst/>
              <a:gdLst>
                <a:gd name="T0" fmla="*/ 741 w 948"/>
                <a:gd name="T1" fmla="*/ 103 h 948"/>
                <a:gd name="T2" fmla="*/ 584 w 948"/>
                <a:gd name="T3" fmla="*/ 322 h 948"/>
                <a:gd name="T4" fmla="*/ 415 w 948"/>
                <a:gd name="T5" fmla="*/ 322 h 948"/>
                <a:gd name="T6" fmla="*/ 293 w 948"/>
                <a:gd name="T7" fmla="*/ 155 h 948"/>
                <a:gd name="T8" fmla="*/ 155 w 948"/>
                <a:gd name="T9" fmla="*/ 155 h 948"/>
                <a:gd name="T10" fmla="*/ 259 w 948"/>
                <a:gd name="T11" fmla="*/ 214 h 948"/>
                <a:gd name="T12" fmla="*/ 362 w 948"/>
                <a:gd name="T13" fmla="*/ 431 h 948"/>
                <a:gd name="T14" fmla="*/ 173 w 948"/>
                <a:gd name="T15" fmla="*/ 734 h 948"/>
                <a:gd name="T16" fmla="*/ 0 w 948"/>
                <a:gd name="T17" fmla="*/ 810 h 948"/>
                <a:gd name="T18" fmla="*/ 207 w 948"/>
                <a:gd name="T19" fmla="*/ 810 h 948"/>
                <a:gd name="T20" fmla="*/ 415 w 948"/>
                <a:gd name="T21" fmla="*/ 540 h 948"/>
                <a:gd name="T22" fmla="*/ 483 w 948"/>
                <a:gd name="T23" fmla="*/ 743 h 948"/>
                <a:gd name="T24" fmla="*/ 500 w 948"/>
                <a:gd name="T25" fmla="*/ 948 h 948"/>
                <a:gd name="T26" fmla="*/ 517 w 948"/>
                <a:gd name="T27" fmla="*/ 743 h 948"/>
                <a:gd name="T28" fmla="*/ 584 w 948"/>
                <a:gd name="T29" fmla="*/ 540 h 948"/>
                <a:gd name="T30" fmla="*/ 707 w 948"/>
                <a:gd name="T31" fmla="*/ 707 h 948"/>
                <a:gd name="T32" fmla="*/ 845 w 948"/>
                <a:gd name="T33" fmla="*/ 707 h 948"/>
                <a:gd name="T34" fmla="*/ 741 w 948"/>
                <a:gd name="T35" fmla="*/ 648 h 948"/>
                <a:gd name="T36" fmla="*/ 638 w 948"/>
                <a:gd name="T37" fmla="*/ 431 h 948"/>
                <a:gd name="T38" fmla="*/ 775 w 948"/>
                <a:gd name="T39" fmla="*/ 180 h 948"/>
                <a:gd name="T40" fmla="*/ 948 w 948"/>
                <a:gd name="T41" fmla="*/ 103 h 948"/>
                <a:gd name="T42" fmla="*/ 190 w 948"/>
                <a:gd name="T43" fmla="*/ 155 h 948"/>
                <a:gd name="T44" fmla="*/ 259 w 948"/>
                <a:gd name="T45" fmla="*/ 155 h 948"/>
                <a:gd name="T46" fmla="*/ 190 w 948"/>
                <a:gd name="T47" fmla="*/ 155 h 948"/>
                <a:gd name="T48" fmla="*/ 34 w 948"/>
                <a:gd name="T49" fmla="*/ 810 h 948"/>
                <a:gd name="T50" fmla="*/ 172 w 948"/>
                <a:gd name="T51" fmla="*/ 810 h 948"/>
                <a:gd name="T52" fmla="*/ 569 w 948"/>
                <a:gd name="T53" fmla="*/ 845 h 948"/>
                <a:gd name="T54" fmla="*/ 431 w 948"/>
                <a:gd name="T55" fmla="*/ 845 h 948"/>
                <a:gd name="T56" fmla="*/ 569 w 948"/>
                <a:gd name="T57" fmla="*/ 845 h 948"/>
                <a:gd name="T58" fmla="*/ 396 w 948"/>
                <a:gd name="T59" fmla="*/ 431 h 948"/>
                <a:gd name="T60" fmla="*/ 603 w 948"/>
                <a:gd name="T61" fmla="*/ 431 h 948"/>
                <a:gd name="T62" fmla="*/ 810 w 948"/>
                <a:gd name="T63" fmla="*/ 707 h 948"/>
                <a:gd name="T64" fmla="*/ 741 w 948"/>
                <a:gd name="T65" fmla="*/ 707 h 948"/>
                <a:gd name="T66" fmla="*/ 810 w 948"/>
                <a:gd name="T67" fmla="*/ 707 h 948"/>
                <a:gd name="T68" fmla="*/ 776 w 948"/>
                <a:gd name="T69" fmla="*/ 103 h 948"/>
                <a:gd name="T70" fmla="*/ 914 w 948"/>
                <a:gd name="T71" fmla="*/ 103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8" h="948">
                  <a:moveTo>
                    <a:pt x="845" y="0"/>
                  </a:moveTo>
                  <a:cubicBezTo>
                    <a:pt x="788" y="0"/>
                    <a:pt x="741" y="46"/>
                    <a:pt x="741" y="103"/>
                  </a:cubicBezTo>
                  <a:cubicBezTo>
                    <a:pt x="741" y="121"/>
                    <a:pt x="746" y="138"/>
                    <a:pt x="754" y="153"/>
                  </a:cubicBezTo>
                  <a:cubicBezTo>
                    <a:pt x="584" y="322"/>
                    <a:pt x="584" y="322"/>
                    <a:pt x="584" y="322"/>
                  </a:cubicBezTo>
                  <a:cubicBezTo>
                    <a:pt x="561" y="304"/>
                    <a:pt x="532" y="293"/>
                    <a:pt x="500" y="293"/>
                  </a:cubicBezTo>
                  <a:cubicBezTo>
                    <a:pt x="468" y="293"/>
                    <a:pt x="439" y="304"/>
                    <a:pt x="415" y="322"/>
                  </a:cubicBezTo>
                  <a:cubicBezTo>
                    <a:pt x="283" y="190"/>
                    <a:pt x="283" y="190"/>
                    <a:pt x="283" y="190"/>
                  </a:cubicBezTo>
                  <a:cubicBezTo>
                    <a:pt x="289" y="180"/>
                    <a:pt x="293" y="168"/>
                    <a:pt x="293" y="155"/>
                  </a:cubicBezTo>
                  <a:cubicBezTo>
                    <a:pt x="293" y="117"/>
                    <a:pt x="262" y="86"/>
                    <a:pt x="224" y="86"/>
                  </a:cubicBezTo>
                  <a:cubicBezTo>
                    <a:pt x="186" y="86"/>
                    <a:pt x="155" y="117"/>
                    <a:pt x="155" y="155"/>
                  </a:cubicBezTo>
                  <a:cubicBezTo>
                    <a:pt x="155" y="193"/>
                    <a:pt x="186" y="224"/>
                    <a:pt x="224" y="224"/>
                  </a:cubicBezTo>
                  <a:cubicBezTo>
                    <a:pt x="237" y="224"/>
                    <a:pt x="249" y="220"/>
                    <a:pt x="259" y="214"/>
                  </a:cubicBezTo>
                  <a:cubicBezTo>
                    <a:pt x="391" y="346"/>
                    <a:pt x="391" y="346"/>
                    <a:pt x="391" y="346"/>
                  </a:cubicBezTo>
                  <a:cubicBezTo>
                    <a:pt x="373" y="370"/>
                    <a:pt x="362" y="399"/>
                    <a:pt x="362" y="431"/>
                  </a:cubicBezTo>
                  <a:cubicBezTo>
                    <a:pt x="362" y="463"/>
                    <a:pt x="373" y="492"/>
                    <a:pt x="391" y="515"/>
                  </a:cubicBezTo>
                  <a:cubicBezTo>
                    <a:pt x="173" y="734"/>
                    <a:pt x="173" y="734"/>
                    <a:pt x="173" y="734"/>
                  </a:cubicBezTo>
                  <a:cubicBezTo>
                    <a:pt x="154" y="717"/>
                    <a:pt x="130" y="707"/>
                    <a:pt x="103" y="707"/>
                  </a:cubicBezTo>
                  <a:cubicBezTo>
                    <a:pt x="46" y="707"/>
                    <a:pt x="0" y="753"/>
                    <a:pt x="0" y="810"/>
                  </a:cubicBezTo>
                  <a:cubicBezTo>
                    <a:pt x="0" y="867"/>
                    <a:pt x="46" y="914"/>
                    <a:pt x="103" y="914"/>
                  </a:cubicBezTo>
                  <a:cubicBezTo>
                    <a:pt x="160" y="914"/>
                    <a:pt x="207" y="867"/>
                    <a:pt x="207" y="810"/>
                  </a:cubicBezTo>
                  <a:cubicBezTo>
                    <a:pt x="207" y="792"/>
                    <a:pt x="202" y="775"/>
                    <a:pt x="194" y="761"/>
                  </a:cubicBezTo>
                  <a:cubicBezTo>
                    <a:pt x="415" y="540"/>
                    <a:pt x="415" y="540"/>
                    <a:pt x="415" y="540"/>
                  </a:cubicBezTo>
                  <a:cubicBezTo>
                    <a:pt x="435" y="555"/>
                    <a:pt x="458" y="564"/>
                    <a:pt x="483" y="568"/>
                  </a:cubicBezTo>
                  <a:cubicBezTo>
                    <a:pt x="483" y="743"/>
                    <a:pt x="483" y="743"/>
                    <a:pt x="483" y="743"/>
                  </a:cubicBezTo>
                  <a:cubicBezTo>
                    <a:pt x="434" y="751"/>
                    <a:pt x="396" y="793"/>
                    <a:pt x="396" y="845"/>
                  </a:cubicBezTo>
                  <a:cubicBezTo>
                    <a:pt x="396" y="902"/>
                    <a:pt x="443" y="948"/>
                    <a:pt x="500" y="948"/>
                  </a:cubicBezTo>
                  <a:cubicBezTo>
                    <a:pt x="557" y="948"/>
                    <a:pt x="603" y="902"/>
                    <a:pt x="603" y="845"/>
                  </a:cubicBezTo>
                  <a:cubicBezTo>
                    <a:pt x="603" y="793"/>
                    <a:pt x="566" y="751"/>
                    <a:pt x="517" y="743"/>
                  </a:cubicBezTo>
                  <a:cubicBezTo>
                    <a:pt x="517" y="568"/>
                    <a:pt x="517" y="568"/>
                    <a:pt x="517" y="568"/>
                  </a:cubicBezTo>
                  <a:cubicBezTo>
                    <a:pt x="542" y="564"/>
                    <a:pt x="565" y="555"/>
                    <a:pt x="584" y="540"/>
                  </a:cubicBezTo>
                  <a:cubicBezTo>
                    <a:pt x="716" y="672"/>
                    <a:pt x="716" y="672"/>
                    <a:pt x="716" y="672"/>
                  </a:cubicBezTo>
                  <a:cubicBezTo>
                    <a:pt x="710" y="682"/>
                    <a:pt x="707" y="694"/>
                    <a:pt x="707" y="707"/>
                  </a:cubicBezTo>
                  <a:cubicBezTo>
                    <a:pt x="707" y="745"/>
                    <a:pt x="738" y="776"/>
                    <a:pt x="776" y="776"/>
                  </a:cubicBezTo>
                  <a:cubicBezTo>
                    <a:pt x="814" y="776"/>
                    <a:pt x="845" y="745"/>
                    <a:pt x="845" y="707"/>
                  </a:cubicBezTo>
                  <a:cubicBezTo>
                    <a:pt x="845" y="669"/>
                    <a:pt x="814" y="638"/>
                    <a:pt x="776" y="638"/>
                  </a:cubicBezTo>
                  <a:cubicBezTo>
                    <a:pt x="763" y="638"/>
                    <a:pt x="751" y="641"/>
                    <a:pt x="741" y="648"/>
                  </a:cubicBezTo>
                  <a:cubicBezTo>
                    <a:pt x="609" y="515"/>
                    <a:pt x="609" y="515"/>
                    <a:pt x="609" y="515"/>
                  </a:cubicBezTo>
                  <a:cubicBezTo>
                    <a:pt x="627" y="492"/>
                    <a:pt x="638" y="463"/>
                    <a:pt x="638" y="431"/>
                  </a:cubicBezTo>
                  <a:cubicBezTo>
                    <a:pt x="638" y="399"/>
                    <a:pt x="627" y="370"/>
                    <a:pt x="609" y="347"/>
                  </a:cubicBezTo>
                  <a:cubicBezTo>
                    <a:pt x="775" y="180"/>
                    <a:pt x="775" y="180"/>
                    <a:pt x="775" y="180"/>
                  </a:cubicBezTo>
                  <a:cubicBezTo>
                    <a:pt x="794" y="197"/>
                    <a:pt x="818" y="207"/>
                    <a:pt x="845" y="207"/>
                  </a:cubicBezTo>
                  <a:cubicBezTo>
                    <a:pt x="902" y="207"/>
                    <a:pt x="948" y="160"/>
                    <a:pt x="948" y="103"/>
                  </a:cubicBezTo>
                  <a:cubicBezTo>
                    <a:pt x="948" y="46"/>
                    <a:pt x="902" y="0"/>
                    <a:pt x="845" y="0"/>
                  </a:cubicBezTo>
                  <a:close/>
                  <a:moveTo>
                    <a:pt x="190" y="155"/>
                  </a:moveTo>
                  <a:cubicBezTo>
                    <a:pt x="190" y="136"/>
                    <a:pt x="205" y="121"/>
                    <a:pt x="224" y="121"/>
                  </a:cubicBezTo>
                  <a:cubicBezTo>
                    <a:pt x="243" y="121"/>
                    <a:pt x="259" y="136"/>
                    <a:pt x="259" y="155"/>
                  </a:cubicBezTo>
                  <a:cubicBezTo>
                    <a:pt x="259" y="174"/>
                    <a:pt x="243" y="190"/>
                    <a:pt x="224" y="190"/>
                  </a:cubicBezTo>
                  <a:cubicBezTo>
                    <a:pt x="205" y="190"/>
                    <a:pt x="190" y="174"/>
                    <a:pt x="190" y="155"/>
                  </a:cubicBezTo>
                  <a:close/>
                  <a:moveTo>
                    <a:pt x="103" y="879"/>
                  </a:moveTo>
                  <a:cubicBezTo>
                    <a:pt x="65" y="879"/>
                    <a:pt x="34" y="848"/>
                    <a:pt x="34" y="810"/>
                  </a:cubicBezTo>
                  <a:cubicBezTo>
                    <a:pt x="34" y="772"/>
                    <a:pt x="65" y="741"/>
                    <a:pt x="103" y="741"/>
                  </a:cubicBezTo>
                  <a:cubicBezTo>
                    <a:pt x="141" y="741"/>
                    <a:pt x="172" y="772"/>
                    <a:pt x="172" y="810"/>
                  </a:cubicBezTo>
                  <a:cubicBezTo>
                    <a:pt x="172" y="848"/>
                    <a:pt x="141" y="879"/>
                    <a:pt x="103" y="879"/>
                  </a:cubicBezTo>
                  <a:close/>
                  <a:moveTo>
                    <a:pt x="569" y="845"/>
                  </a:moveTo>
                  <a:cubicBezTo>
                    <a:pt x="569" y="883"/>
                    <a:pt x="538" y="914"/>
                    <a:pt x="500" y="914"/>
                  </a:cubicBezTo>
                  <a:cubicBezTo>
                    <a:pt x="462" y="914"/>
                    <a:pt x="431" y="883"/>
                    <a:pt x="431" y="845"/>
                  </a:cubicBezTo>
                  <a:cubicBezTo>
                    <a:pt x="431" y="807"/>
                    <a:pt x="462" y="776"/>
                    <a:pt x="500" y="776"/>
                  </a:cubicBezTo>
                  <a:cubicBezTo>
                    <a:pt x="538" y="776"/>
                    <a:pt x="569" y="807"/>
                    <a:pt x="569" y="845"/>
                  </a:cubicBezTo>
                  <a:close/>
                  <a:moveTo>
                    <a:pt x="500" y="534"/>
                  </a:moveTo>
                  <a:cubicBezTo>
                    <a:pt x="443" y="534"/>
                    <a:pt x="396" y="488"/>
                    <a:pt x="396" y="431"/>
                  </a:cubicBezTo>
                  <a:cubicBezTo>
                    <a:pt x="396" y="374"/>
                    <a:pt x="443" y="327"/>
                    <a:pt x="500" y="327"/>
                  </a:cubicBezTo>
                  <a:cubicBezTo>
                    <a:pt x="557" y="327"/>
                    <a:pt x="603" y="374"/>
                    <a:pt x="603" y="431"/>
                  </a:cubicBezTo>
                  <a:cubicBezTo>
                    <a:pt x="603" y="488"/>
                    <a:pt x="557" y="534"/>
                    <a:pt x="500" y="534"/>
                  </a:cubicBezTo>
                  <a:close/>
                  <a:moveTo>
                    <a:pt x="810" y="707"/>
                  </a:moveTo>
                  <a:cubicBezTo>
                    <a:pt x="810" y="726"/>
                    <a:pt x="795" y="741"/>
                    <a:pt x="776" y="741"/>
                  </a:cubicBezTo>
                  <a:cubicBezTo>
                    <a:pt x="757" y="741"/>
                    <a:pt x="741" y="726"/>
                    <a:pt x="741" y="707"/>
                  </a:cubicBezTo>
                  <a:cubicBezTo>
                    <a:pt x="741" y="688"/>
                    <a:pt x="757" y="672"/>
                    <a:pt x="776" y="672"/>
                  </a:cubicBezTo>
                  <a:cubicBezTo>
                    <a:pt x="795" y="672"/>
                    <a:pt x="810" y="688"/>
                    <a:pt x="810" y="707"/>
                  </a:cubicBezTo>
                  <a:close/>
                  <a:moveTo>
                    <a:pt x="845" y="172"/>
                  </a:moveTo>
                  <a:cubicBezTo>
                    <a:pt x="807" y="172"/>
                    <a:pt x="776" y="141"/>
                    <a:pt x="776" y="103"/>
                  </a:cubicBezTo>
                  <a:cubicBezTo>
                    <a:pt x="776" y="65"/>
                    <a:pt x="807" y="34"/>
                    <a:pt x="845" y="34"/>
                  </a:cubicBezTo>
                  <a:cubicBezTo>
                    <a:pt x="883" y="34"/>
                    <a:pt x="914" y="65"/>
                    <a:pt x="914" y="103"/>
                  </a:cubicBezTo>
                  <a:cubicBezTo>
                    <a:pt x="914" y="141"/>
                    <a:pt x="883" y="172"/>
                    <a:pt x="845" y="1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oup 4">
            <a:extLst>
              <a:ext uri="{FF2B5EF4-FFF2-40B4-BE49-F238E27FC236}">
                <a16:creationId xmlns:a16="http://schemas.microsoft.com/office/drawing/2014/main" id="{17442FB1-081D-5DD4-39A9-58F148531D9C}"/>
              </a:ext>
            </a:extLst>
          </p:cNvPr>
          <p:cNvGrpSpPr/>
          <p:nvPr/>
        </p:nvGrpSpPr>
        <p:grpSpPr>
          <a:xfrm>
            <a:off x="6242682" y="1822514"/>
            <a:ext cx="2314800" cy="3900341"/>
            <a:chOff x="6237073" y="1822514"/>
            <a:chExt cx="2314800" cy="3900341"/>
          </a:xfrm>
        </p:grpSpPr>
        <p:sp>
          <p:nvSpPr>
            <p:cNvPr id="71" name="Rounded Rectangle 130">
              <a:extLst>
                <a:ext uri="{FF2B5EF4-FFF2-40B4-BE49-F238E27FC236}">
                  <a16:creationId xmlns:a16="http://schemas.microsoft.com/office/drawing/2014/main" id="{C12F3D9C-6D7D-1869-071E-7F806C0B06DF}"/>
                </a:ext>
              </a:extLst>
            </p:cNvPr>
            <p:cNvSpPr/>
            <p:nvPr/>
          </p:nvSpPr>
          <p:spPr>
            <a:xfrm>
              <a:off x="6238020" y="1822514"/>
              <a:ext cx="2312907" cy="3900341"/>
            </a:xfrm>
            <a:prstGeom prst="roundRect">
              <a:avLst>
                <a:gd name="adj" fmla="val 556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64" name="Inhaltsplatzhalter 4">
              <a:extLst>
                <a:ext uri="{FF2B5EF4-FFF2-40B4-BE49-F238E27FC236}">
                  <a16:creationId xmlns:a16="http://schemas.microsoft.com/office/drawing/2014/main" id="{2A6994E8-56D8-AF37-2F81-5E6357A735DF}"/>
                </a:ext>
              </a:extLst>
            </p:cNvPr>
            <p:cNvSpPr txBox="1">
              <a:spLocks/>
            </p:cNvSpPr>
            <p:nvPr/>
          </p:nvSpPr>
          <p:spPr>
            <a:xfrm>
              <a:off x="6237073" y="2080668"/>
              <a:ext cx="2314800" cy="565146"/>
            </a:xfrm>
            <a:prstGeom prst="rect">
              <a:avLst/>
            </a:prstGeom>
          </p:spPr>
          <p:txBody>
            <a:bodyPr wrap="square" lIns="36000" tIns="36000" rIns="36000" bIns="3600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Arial Black"/>
                  <a:ea typeface="+mn-ea"/>
                  <a:cs typeface="+mn-cs"/>
                </a:rPr>
                <a:t>100% </a:t>
              </a:r>
              <a:br>
                <a:rPr kumimoji="0" lang="en-US" sz="1600" b="1" i="0" u="none" strike="noStrike" kern="1200" cap="none" spc="0" normalizeH="0" baseline="0" noProof="0">
                  <a:ln>
                    <a:noFill/>
                  </a:ln>
                  <a:solidFill>
                    <a:prstClr val="white"/>
                  </a:solidFill>
                  <a:effectLst/>
                  <a:uLnTx/>
                  <a:uFillTx/>
                  <a:latin typeface="Arial Black"/>
                  <a:ea typeface="+mn-ea"/>
                  <a:cs typeface="+mn-cs"/>
                </a:rPr>
              </a:br>
              <a:r>
                <a:rPr kumimoji="0" lang="en-US" sz="1600" b="1" i="0" u="none" strike="noStrike" kern="1200" cap="none" spc="0" normalizeH="0" baseline="0" noProof="0">
                  <a:ln>
                    <a:noFill/>
                  </a:ln>
                  <a:solidFill>
                    <a:prstClr val="white"/>
                  </a:solidFill>
                  <a:effectLst/>
                  <a:uLnTx/>
                  <a:uFillTx/>
                  <a:latin typeface="Arial Black"/>
                  <a:ea typeface="+mn-ea"/>
                  <a:cs typeface="+mn-cs"/>
                </a:rPr>
                <a:t>SELF SERVICE</a:t>
              </a:r>
            </a:p>
          </p:txBody>
        </p:sp>
        <p:sp>
          <p:nvSpPr>
            <p:cNvPr id="80" name="Inhaltsplatzhalter 4">
              <a:extLst>
                <a:ext uri="{FF2B5EF4-FFF2-40B4-BE49-F238E27FC236}">
                  <a16:creationId xmlns:a16="http://schemas.microsoft.com/office/drawing/2014/main" id="{BB48359D-C12B-E72E-E590-1F6CC2CDAAE2}"/>
                </a:ext>
              </a:extLst>
            </p:cNvPr>
            <p:cNvSpPr txBox="1">
              <a:spLocks/>
            </p:cNvSpPr>
            <p:nvPr/>
          </p:nvSpPr>
          <p:spPr>
            <a:xfrm>
              <a:off x="6237073" y="4497655"/>
              <a:ext cx="2314800" cy="942818"/>
            </a:xfrm>
            <a:prstGeom prst="rect">
              <a:avLst/>
            </a:prstGeom>
          </p:spPr>
          <p:txBody>
            <a:bodyPr wrap="square" lIns="36000" tIns="36000" rIns="3600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100% self serve </a:t>
              </a:r>
              <a:b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b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on-boarding, user management &amp; cockpit </a:t>
              </a:r>
              <a:b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b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view of all sites </a:t>
              </a:r>
              <a:endParaRPr kumimoji="0" lang="en-GB"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endParaRPr>
            </a:p>
          </p:txBody>
        </p:sp>
        <p:grpSp>
          <p:nvGrpSpPr>
            <p:cNvPr id="7" name="Group 6">
              <a:extLst>
                <a:ext uri="{FF2B5EF4-FFF2-40B4-BE49-F238E27FC236}">
                  <a16:creationId xmlns:a16="http://schemas.microsoft.com/office/drawing/2014/main" id="{40A6C722-0A32-C408-26E3-DB2E5000AAFC}"/>
                </a:ext>
              </a:extLst>
            </p:cNvPr>
            <p:cNvGrpSpPr/>
            <p:nvPr/>
          </p:nvGrpSpPr>
          <p:grpSpPr>
            <a:xfrm>
              <a:off x="6912667" y="3045448"/>
              <a:ext cx="963612" cy="1044596"/>
              <a:chOff x="6986985" y="3381355"/>
              <a:chExt cx="963612" cy="1044596"/>
            </a:xfrm>
            <a:solidFill>
              <a:schemeClr val="bg1"/>
            </a:solidFill>
          </p:grpSpPr>
          <p:sp>
            <p:nvSpPr>
              <p:cNvPr id="8" name="Freeform 5">
                <a:extLst>
                  <a:ext uri="{FF2B5EF4-FFF2-40B4-BE49-F238E27FC236}">
                    <a16:creationId xmlns:a16="http://schemas.microsoft.com/office/drawing/2014/main" id="{B9EDD025-DC0A-A5BE-9F86-4F75B2B50504}"/>
                  </a:ext>
                </a:extLst>
              </p:cNvPr>
              <p:cNvSpPr>
                <a:spLocks noEditPoints="1"/>
              </p:cNvSpPr>
              <p:nvPr/>
            </p:nvSpPr>
            <p:spPr bwMode="auto">
              <a:xfrm>
                <a:off x="7352110" y="3729038"/>
                <a:ext cx="598487" cy="696913"/>
              </a:xfrm>
              <a:custGeom>
                <a:avLst/>
                <a:gdLst>
                  <a:gd name="T0" fmla="*/ 664 w 831"/>
                  <a:gd name="T1" fmla="*/ 695 h 967"/>
                  <a:gd name="T2" fmla="*/ 523 w 831"/>
                  <a:gd name="T3" fmla="*/ 659 h 967"/>
                  <a:gd name="T4" fmla="*/ 694 w 831"/>
                  <a:gd name="T5" fmla="*/ 430 h 967"/>
                  <a:gd name="T6" fmla="*/ 598 w 831"/>
                  <a:gd name="T7" fmla="*/ 88 h 967"/>
                  <a:gd name="T8" fmla="*/ 400 w 831"/>
                  <a:gd name="T9" fmla="*/ 0 h 967"/>
                  <a:gd name="T10" fmla="*/ 136 w 831"/>
                  <a:gd name="T11" fmla="*/ 430 h 967"/>
                  <a:gd name="T12" fmla="*/ 308 w 831"/>
                  <a:gd name="T13" fmla="*/ 659 h 967"/>
                  <a:gd name="T14" fmla="*/ 167 w 831"/>
                  <a:gd name="T15" fmla="*/ 695 h 967"/>
                  <a:gd name="T16" fmla="*/ 0 w 831"/>
                  <a:gd name="T17" fmla="*/ 967 h 967"/>
                  <a:gd name="T18" fmla="*/ 781 w 831"/>
                  <a:gd name="T19" fmla="*/ 800 h 967"/>
                  <a:gd name="T20" fmla="*/ 630 w 831"/>
                  <a:gd name="T21" fmla="*/ 393 h 967"/>
                  <a:gd name="T22" fmla="*/ 630 w 831"/>
                  <a:gd name="T23" fmla="*/ 467 h 967"/>
                  <a:gd name="T24" fmla="*/ 179 w 831"/>
                  <a:gd name="T25" fmla="*/ 430 h 967"/>
                  <a:gd name="T26" fmla="*/ 200 w 831"/>
                  <a:gd name="T27" fmla="*/ 467 h 967"/>
                  <a:gd name="T28" fmla="*/ 200 w 831"/>
                  <a:gd name="T29" fmla="*/ 347 h 967"/>
                  <a:gd name="T30" fmla="*/ 179 w 831"/>
                  <a:gd name="T31" fmla="*/ 265 h 967"/>
                  <a:gd name="T32" fmla="*/ 557 w 831"/>
                  <a:gd name="T33" fmla="*/ 108 h 967"/>
                  <a:gd name="T34" fmla="*/ 582 w 831"/>
                  <a:gd name="T35" fmla="*/ 128 h 967"/>
                  <a:gd name="T36" fmla="*/ 651 w 831"/>
                  <a:gd name="T37" fmla="*/ 356 h 967"/>
                  <a:gd name="T38" fmla="*/ 630 w 831"/>
                  <a:gd name="T39" fmla="*/ 322 h 967"/>
                  <a:gd name="T40" fmla="*/ 413 w 831"/>
                  <a:gd name="T41" fmla="*/ 248 h 967"/>
                  <a:gd name="T42" fmla="*/ 353 w 831"/>
                  <a:gd name="T43" fmla="*/ 268 h 967"/>
                  <a:gd name="T44" fmla="*/ 200 w 831"/>
                  <a:gd name="T45" fmla="*/ 322 h 967"/>
                  <a:gd name="T46" fmla="*/ 243 w 831"/>
                  <a:gd name="T47" fmla="*/ 364 h 967"/>
                  <a:gd name="T48" fmla="*/ 392 w 831"/>
                  <a:gd name="T49" fmla="*/ 290 h 967"/>
                  <a:gd name="T50" fmla="*/ 587 w 831"/>
                  <a:gd name="T51" fmla="*/ 365 h 967"/>
                  <a:gd name="T52" fmla="*/ 415 w 831"/>
                  <a:gd name="T53" fmla="*/ 645 h 967"/>
                  <a:gd name="T54" fmla="*/ 352 w 831"/>
                  <a:gd name="T55" fmla="*/ 678 h 967"/>
                  <a:gd name="T56" fmla="*/ 478 w 831"/>
                  <a:gd name="T57" fmla="*/ 678 h 967"/>
                  <a:gd name="T58" fmla="*/ 352 w 831"/>
                  <a:gd name="T59" fmla="*/ 678 h 967"/>
                  <a:gd name="T60" fmla="*/ 339 w 831"/>
                  <a:gd name="T61" fmla="*/ 798 h 967"/>
                  <a:gd name="T62" fmla="*/ 324 w 831"/>
                  <a:gd name="T63" fmla="*/ 711 h 967"/>
                  <a:gd name="T64" fmla="*/ 506 w 831"/>
                  <a:gd name="T65" fmla="*/ 711 h 967"/>
                  <a:gd name="T66" fmla="*/ 492 w 831"/>
                  <a:gd name="T67" fmla="*/ 798 h 967"/>
                  <a:gd name="T68" fmla="*/ 506 w 831"/>
                  <a:gd name="T69" fmla="*/ 711 h 967"/>
                  <a:gd name="T70" fmla="*/ 91 w 831"/>
                  <a:gd name="T71" fmla="*/ 813 h 967"/>
                  <a:gd name="T72" fmla="*/ 267 w 831"/>
                  <a:gd name="T73" fmla="*/ 721 h 967"/>
                  <a:gd name="T74" fmla="*/ 415 w 831"/>
                  <a:gd name="T75" fmla="*/ 783 h 967"/>
                  <a:gd name="T76" fmla="*/ 563 w 831"/>
                  <a:gd name="T77" fmla="*/ 721 h 967"/>
                  <a:gd name="T78" fmla="*/ 739 w 831"/>
                  <a:gd name="T79" fmla="*/ 812 h 967"/>
                  <a:gd name="T80" fmla="*/ 57 w 831"/>
                  <a:gd name="T81" fmla="*/ 924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1" h="967">
                    <a:moveTo>
                      <a:pt x="781" y="800"/>
                    </a:moveTo>
                    <a:cubicBezTo>
                      <a:pt x="764" y="746"/>
                      <a:pt x="719" y="706"/>
                      <a:pt x="664" y="695"/>
                    </a:cubicBezTo>
                    <a:cubicBezTo>
                      <a:pt x="523" y="670"/>
                      <a:pt x="523" y="670"/>
                      <a:pt x="523" y="670"/>
                    </a:cubicBezTo>
                    <a:cubicBezTo>
                      <a:pt x="523" y="659"/>
                      <a:pt x="523" y="659"/>
                      <a:pt x="523" y="659"/>
                    </a:cubicBezTo>
                    <a:cubicBezTo>
                      <a:pt x="575" y="628"/>
                      <a:pt x="614" y="576"/>
                      <a:pt x="626" y="514"/>
                    </a:cubicBezTo>
                    <a:cubicBezTo>
                      <a:pt x="665" y="506"/>
                      <a:pt x="694" y="471"/>
                      <a:pt x="694" y="430"/>
                    </a:cubicBezTo>
                    <a:cubicBezTo>
                      <a:pt x="694" y="218"/>
                      <a:pt x="694" y="218"/>
                      <a:pt x="694" y="218"/>
                    </a:cubicBezTo>
                    <a:cubicBezTo>
                      <a:pt x="694" y="158"/>
                      <a:pt x="655" y="105"/>
                      <a:pt x="598" y="88"/>
                    </a:cubicBezTo>
                    <a:cubicBezTo>
                      <a:pt x="587" y="78"/>
                      <a:pt x="587" y="78"/>
                      <a:pt x="587" y="78"/>
                    </a:cubicBezTo>
                    <a:cubicBezTo>
                      <a:pt x="537" y="28"/>
                      <a:pt x="471" y="0"/>
                      <a:pt x="400" y="0"/>
                    </a:cubicBezTo>
                    <a:cubicBezTo>
                      <a:pt x="254" y="0"/>
                      <a:pt x="136" y="119"/>
                      <a:pt x="136" y="265"/>
                    </a:cubicBezTo>
                    <a:cubicBezTo>
                      <a:pt x="136" y="430"/>
                      <a:pt x="136" y="430"/>
                      <a:pt x="136" y="430"/>
                    </a:cubicBezTo>
                    <a:cubicBezTo>
                      <a:pt x="136" y="471"/>
                      <a:pt x="165" y="506"/>
                      <a:pt x="204" y="514"/>
                    </a:cubicBezTo>
                    <a:cubicBezTo>
                      <a:pt x="216" y="576"/>
                      <a:pt x="255" y="628"/>
                      <a:pt x="308" y="659"/>
                    </a:cubicBezTo>
                    <a:cubicBezTo>
                      <a:pt x="308" y="670"/>
                      <a:pt x="308" y="670"/>
                      <a:pt x="308" y="670"/>
                    </a:cubicBezTo>
                    <a:cubicBezTo>
                      <a:pt x="167" y="695"/>
                      <a:pt x="167" y="695"/>
                      <a:pt x="167" y="695"/>
                    </a:cubicBezTo>
                    <a:cubicBezTo>
                      <a:pt x="111" y="706"/>
                      <a:pt x="66" y="746"/>
                      <a:pt x="50" y="800"/>
                    </a:cubicBezTo>
                    <a:cubicBezTo>
                      <a:pt x="0" y="967"/>
                      <a:pt x="0" y="967"/>
                      <a:pt x="0" y="967"/>
                    </a:cubicBezTo>
                    <a:cubicBezTo>
                      <a:pt x="831" y="967"/>
                      <a:pt x="831" y="967"/>
                      <a:pt x="831" y="967"/>
                    </a:cubicBezTo>
                    <a:lnTo>
                      <a:pt x="781" y="800"/>
                    </a:lnTo>
                    <a:close/>
                    <a:moveTo>
                      <a:pt x="630" y="467"/>
                    </a:moveTo>
                    <a:cubicBezTo>
                      <a:pt x="630" y="393"/>
                      <a:pt x="630" y="393"/>
                      <a:pt x="630" y="393"/>
                    </a:cubicBezTo>
                    <a:cubicBezTo>
                      <a:pt x="643" y="400"/>
                      <a:pt x="651" y="414"/>
                      <a:pt x="651" y="430"/>
                    </a:cubicBezTo>
                    <a:cubicBezTo>
                      <a:pt x="651" y="446"/>
                      <a:pt x="643" y="459"/>
                      <a:pt x="630" y="467"/>
                    </a:cubicBezTo>
                    <a:close/>
                    <a:moveTo>
                      <a:pt x="200" y="467"/>
                    </a:moveTo>
                    <a:cubicBezTo>
                      <a:pt x="187" y="459"/>
                      <a:pt x="179" y="446"/>
                      <a:pt x="179" y="430"/>
                    </a:cubicBezTo>
                    <a:cubicBezTo>
                      <a:pt x="179" y="414"/>
                      <a:pt x="187" y="400"/>
                      <a:pt x="200" y="393"/>
                    </a:cubicBezTo>
                    <a:lnTo>
                      <a:pt x="200" y="467"/>
                    </a:lnTo>
                    <a:close/>
                    <a:moveTo>
                      <a:pt x="200" y="322"/>
                    </a:moveTo>
                    <a:cubicBezTo>
                      <a:pt x="200" y="347"/>
                      <a:pt x="200" y="347"/>
                      <a:pt x="200" y="347"/>
                    </a:cubicBezTo>
                    <a:cubicBezTo>
                      <a:pt x="193" y="349"/>
                      <a:pt x="185" y="352"/>
                      <a:pt x="179" y="356"/>
                    </a:cubicBezTo>
                    <a:cubicBezTo>
                      <a:pt x="179" y="265"/>
                      <a:pt x="179" y="265"/>
                      <a:pt x="179" y="265"/>
                    </a:cubicBezTo>
                    <a:cubicBezTo>
                      <a:pt x="179" y="143"/>
                      <a:pt x="278" y="43"/>
                      <a:pt x="400" y="43"/>
                    </a:cubicBezTo>
                    <a:cubicBezTo>
                      <a:pt x="460" y="43"/>
                      <a:pt x="515" y="66"/>
                      <a:pt x="557" y="108"/>
                    </a:cubicBezTo>
                    <a:cubicBezTo>
                      <a:pt x="576" y="127"/>
                      <a:pt x="576" y="127"/>
                      <a:pt x="576" y="127"/>
                    </a:cubicBezTo>
                    <a:cubicBezTo>
                      <a:pt x="582" y="128"/>
                      <a:pt x="582" y="128"/>
                      <a:pt x="582" y="128"/>
                    </a:cubicBezTo>
                    <a:cubicBezTo>
                      <a:pt x="623" y="139"/>
                      <a:pt x="651" y="175"/>
                      <a:pt x="651" y="218"/>
                    </a:cubicBezTo>
                    <a:cubicBezTo>
                      <a:pt x="651" y="356"/>
                      <a:pt x="651" y="356"/>
                      <a:pt x="651" y="356"/>
                    </a:cubicBezTo>
                    <a:cubicBezTo>
                      <a:pt x="645" y="352"/>
                      <a:pt x="638" y="349"/>
                      <a:pt x="630" y="347"/>
                    </a:cubicBezTo>
                    <a:cubicBezTo>
                      <a:pt x="630" y="322"/>
                      <a:pt x="630" y="322"/>
                      <a:pt x="630" y="322"/>
                    </a:cubicBezTo>
                    <a:cubicBezTo>
                      <a:pt x="562" y="322"/>
                      <a:pt x="562" y="322"/>
                      <a:pt x="562" y="322"/>
                    </a:cubicBezTo>
                    <a:cubicBezTo>
                      <a:pt x="504" y="322"/>
                      <a:pt x="448" y="295"/>
                      <a:pt x="413" y="248"/>
                    </a:cubicBezTo>
                    <a:cubicBezTo>
                      <a:pt x="396" y="225"/>
                      <a:pt x="396" y="225"/>
                      <a:pt x="396" y="225"/>
                    </a:cubicBezTo>
                    <a:cubicBezTo>
                      <a:pt x="353" y="268"/>
                      <a:pt x="353" y="268"/>
                      <a:pt x="353" y="268"/>
                    </a:cubicBezTo>
                    <a:cubicBezTo>
                      <a:pt x="318" y="303"/>
                      <a:pt x="271" y="322"/>
                      <a:pt x="222" y="322"/>
                    </a:cubicBezTo>
                    <a:lnTo>
                      <a:pt x="200" y="322"/>
                    </a:lnTo>
                    <a:close/>
                    <a:moveTo>
                      <a:pt x="243" y="473"/>
                    </a:moveTo>
                    <a:cubicBezTo>
                      <a:pt x="243" y="364"/>
                      <a:pt x="243" y="364"/>
                      <a:pt x="243" y="364"/>
                    </a:cubicBezTo>
                    <a:cubicBezTo>
                      <a:pt x="296" y="360"/>
                      <a:pt x="346" y="337"/>
                      <a:pt x="384" y="298"/>
                    </a:cubicBezTo>
                    <a:cubicBezTo>
                      <a:pt x="392" y="290"/>
                      <a:pt x="392" y="290"/>
                      <a:pt x="392" y="290"/>
                    </a:cubicBezTo>
                    <a:cubicBezTo>
                      <a:pt x="435" y="338"/>
                      <a:pt x="497" y="365"/>
                      <a:pt x="562" y="365"/>
                    </a:cubicBezTo>
                    <a:cubicBezTo>
                      <a:pt x="587" y="365"/>
                      <a:pt x="587" y="365"/>
                      <a:pt x="587" y="365"/>
                    </a:cubicBezTo>
                    <a:cubicBezTo>
                      <a:pt x="587" y="473"/>
                      <a:pt x="587" y="473"/>
                      <a:pt x="587" y="473"/>
                    </a:cubicBezTo>
                    <a:cubicBezTo>
                      <a:pt x="587" y="568"/>
                      <a:pt x="510" y="645"/>
                      <a:pt x="415" y="645"/>
                    </a:cubicBezTo>
                    <a:cubicBezTo>
                      <a:pt x="320" y="645"/>
                      <a:pt x="243" y="568"/>
                      <a:pt x="243" y="473"/>
                    </a:cubicBezTo>
                    <a:close/>
                    <a:moveTo>
                      <a:pt x="352" y="678"/>
                    </a:moveTo>
                    <a:cubicBezTo>
                      <a:pt x="372" y="684"/>
                      <a:pt x="393" y="688"/>
                      <a:pt x="415" y="688"/>
                    </a:cubicBezTo>
                    <a:cubicBezTo>
                      <a:pt x="437" y="688"/>
                      <a:pt x="458" y="684"/>
                      <a:pt x="478" y="678"/>
                    </a:cubicBezTo>
                    <a:cubicBezTo>
                      <a:pt x="415" y="725"/>
                      <a:pt x="415" y="725"/>
                      <a:pt x="415" y="725"/>
                    </a:cubicBezTo>
                    <a:lnTo>
                      <a:pt x="352" y="678"/>
                    </a:lnTo>
                    <a:close/>
                    <a:moveTo>
                      <a:pt x="382" y="754"/>
                    </a:moveTo>
                    <a:cubicBezTo>
                      <a:pt x="339" y="798"/>
                      <a:pt x="339" y="798"/>
                      <a:pt x="339" y="798"/>
                    </a:cubicBezTo>
                    <a:cubicBezTo>
                      <a:pt x="310" y="713"/>
                      <a:pt x="310" y="713"/>
                      <a:pt x="310" y="713"/>
                    </a:cubicBezTo>
                    <a:cubicBezTo>
                      <a:pt x="324" y="711"/>
                      <a:pt x="324" y="711"/>
                      <a:pt x="324" y="711"/>
                    </a:cubicBezTo>
                    <a:lnTo>
                      <a:pt x="382" y="754"/>
                    </a:lnTo>
                    <a:close/>
                    <a:moveTo>
                      <a:pt x="506" y="711"/>
                    </a:moveTo>
                    <a:cubicBezTo>
                      <a:pt x="520" y="713"/>
                      <a:pt x="520" y="713"/>
                      <a:pt x="520" y="713"/>
                    </a:cubicBezTo>
                    <a:cubicBezTo>
                      <a:pt x="492" y="798"/>
                      <a:pt x="492" y="798"/>
                      <a:pt x="492" y="798"/>
                    </a:cubicBezTo>
                    <a:cubicBezTo>
                      <a:pt x="448" y="755"/>
                      <a:pt x="448" y="755"/>
                      <a:pt x="448" y="755"/>
                    </a:cubicBezTo>
                    <a:lnTo>
                      <a:pt x="506" y="711"/>
                    </a:lnTo>
                    <a:close/>
                    <a:moveTo>
                      <a:pt x="57" y="924"/>
                    </a:moveTo>
                    <a:cubicBezTo>
                      <a:pt x="91" y="813"/>
                      <a:pt x="91" y="813"/>
                      <a:pt x="91" y="813"/>
                    </a:cubicBezTo>
                    <a:cubicBezTo>
                      <a:pt x="102" y="774"/>
                      <a:pt x="134" y="745"/>
                      <a:pt x="174" y="738"/>
                    </a:cubicBezTo>
                    <a:cubicBezTo>
                      <a:pt x="267" y="721"/>
                      <a:pt x="267" y="721"/>
                      <a:pt x="267" y="721"/>
                    </a:cubicBezTo>
                    <a:cubicBezTo>
                      <a:pt x="320" y="878"/>
                      <a:pt x="320" y="878"/>
                      <a:pt x="320" y="878"/>
                    </a:cubicBezTo>
                    <a:cubicBezTo>
                      <a:pt x="415" y="783"/>
                      <a:pt x="415" y="783"/>
                      <a:pt x="415" y="783"/>
                    </a:cubicBezTo>
                    <a:cubicBezTo>
                      <a:pt x="510" y="878"/>
                      <a:pt x="510" y="878"/>
                      <a:pt x="510" y="878"/>
                    </a:cubicBezTo>
                    <a:cubicBezTo>
                      <a:pt x="563" y="721"/>
                      <a:pt x="563" y="721"/>
                      <a:pt x="563" y="721"/>
                    </a:cubicBezTo>
                    <a:cubicBezTo>
                      <a:pt x="656" y="738"/>
                      <a:pt x="656" y="738"/>
                      <a:pt x="656" y="738"/>
                    </a:cubicBezTo>
                    <a:cubicBezTo>
                      <a:pt x="696" y="745"/>
                      <a:pt x="728" y="774"/>
                      <a:pt x="739" y="812"/>
                    </a:cubicBezTo>
                    <a:cubicBezTo>
                      <a:pt x="773" y="924"/>
                      <a:pt x="773" y="924"/>
                      <a:pt x="773" y="924"/>
                    </a:cubicBezTo>
                    <a:cubicBezTo>
                      <a:pt x="57" y="924"/>
                      <a:pt x="57" y="924"/>
                      <a:pt x="57" y="9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99513566-CB16-24A9-0272-3BA49C23616B}"/>
                  </a:ext>
                </a:extLst>
              </p:cNvPr>
              <p:cNvSpPr>
                <a:spLocks/>
              </p:cNvSpPr>
              <p:nvPr/>
            </p:nvSpPr>
            <p:spPr bwMode="auto">
              <a:xfrm>
                <a:off x="7652147" y="3467100"/>
                <a:ext cx="288925" cy="268288"/>
              </a:xfrm>
              <a:custGeom>
                <a:avLst/>
                <a:gdLst>
                  <a:gd name="T0" fmla="*/ 372 w 402"/>
                  <a:gd name="T1" fmla="*/ 264 h 374"/>
                  <a:gd name="T2" fmla="*/ 344 w 402"/>
                  <a:gd name="T3" fmla="*/ 292 h 374"/>
                  <a:gd name="T4" fmla="*/ 344 w 402"/>
                  <a:gd name="T5" fmla="*/ 215 h 374"/>
                  <a:gd name="T6" fmla="*/ 129 w 402"/>
                  <a:gd name="T7" fmla="*/ 0 h 374"/>
                  <a:gd name="T8" fmla="*/ 0 w 402"/>
                  <a:gd name="T9" fmla="*/ 0 h 374"/>
                  <a:gd name="T10" fmla="*/ 0 w 402"/>
                  <a:gd name="T11" fmla="*/ 43 h 374"/>
                  <a:gd name="T12" fmla="*/ 129 w 402"/>
                  <a:gd name="T13" fmla="*/ 43 h 374"/>
                  <a:gd name="T14" fmla="*/ 301 w 402"/>
                  <a:gd name="T15" fmla="*/ 215 h 374"/>
                  <a:gd name="T16" fmla="*/ 301 w 402"/>
                  <a:gd name="T17" fmla="*/ 292 h 374"/>
                  <a:gd name="T18" fmla="*/ 273 w 402"/>
                  <a:gd name="T19" fmla="*/ 264 h 374"/>
                  <a:gd name="T20" fmla="*/ 243 w 402"/>
                  <a:gd name="T21" fmla="*/ 294 h 374"/>
                  <a:gd name="T22" fmla="*/ 322 w 402"/>
                  <a:gd name="T23" fmla="*/ 374 h 374"/>
                  <a:gd name="T24" fmla="*/ 402 w 402"/>
                  <a:gd name="T25" fmla="*/ 294 h 374"/>
                  <a:gd name="T26" fmla="*/ 372 w 402"/>
                  <a:gd name="T27" fmla="*/ 26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2" h="374">
                    <a:moveTo>
                      <a:pt x="372" y="264"/>
                    </a:moveTo>
                    <a:cubicBezTo>
                      <a:pt x="344" y="292"/>
                      <a:pt x="344" y="292"/>
                      <a:pt x="344" y="292"/>
                    </a:cubicBezTo>
                    <a:cubicBezTo>
                      <a:pt x="344" y="215"/>
                      <a:pt x="344" y="215"/>
                      <a:pt x="344" y="215"/>
                    </a:cubicBezTo>
                    <a:cubicBezTo>
                      <a:pt x="344" y="96"/>
                      <a:pt x="247" y="0"/>
                      <a:pt x="129" y="0"/>
                    </a:cubicBezTo>
                    <a:cubicBezTo>
                      <a:pt x="0" y="0"/>
                      <a:pt x="0" y="0"/>
                      <a:pt x="0" y="0"/>
                    </a:cubicBezTo>
                    <a:cubicBezTo>
                      <a:pt x="0" y="43"/>
                      <a:pt x="0" y="43"/>
                      <a:pt x="0" y="43"/>
                    </a:cubicBezTo>
                    <a:cubicBezTo>
                      <a:pt x="129" y="43"/>
                      <a:pt x="129" y="43"/>
                      <a:pt x="129" y="43"/>
                    </a:cubicBezTo>
                    <a:cubicBezTo>
                      <a:pt x="224" y="43"/>
                      <a:pt x="301" y="120"/>
                      <a:pt x="301" y="215"/>
                    </a:cubicBezTo>
                    <a:cubicBezTo>
                      <a:pt x="301" y="292"/>
                      <a:pt x="301" y="292"/>
                      <a:pt x="301" y="292"/>
                    </a:cubicBezTo>
                    <a:cubicBezTo>
                      <a:pt x="273" y="264"/>
                      <a:pt x="273" y="264"/>
                      <a:pt x="273" y="264"/>
                    </a:cubicBezTo>
                    <a:cubicBezTo>
                      <a:pt x="243" y="294"/>
                      <a:pt x="243" y="294"/>
                      <a:pt x="243" y="294"/>
                    </a:cubicBezTo>
                    <a:cubicBezTo>
                      <a:pt x="322" y="374"/>
                      <a:pt x="322" y="374"/>
                      <a:pt x="322" y="374"/>
                    </a:cubicBezTo>
                    <a:cubicBezTo>
                      <a:pt x="402" y="294"/>
                      <a:pt x="402" y="294"/>
                      <a:pt x="402" y="294"/>
                    </a:cubicBezTo>
                    <a:lnTo>
                      <a:pt x="3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a:extLst>
                  <a:ext uri="{FF2B5EF4-FFF2-40B4-BE49-F238E27FC236}">
                    <a16:creationId xmlns:a16="http://schemas.microsoft.com/office/drawing/2014/main" id="{B9C321A9-8E45-46B0-3AD6-1960EE33202C}"/>
                  </a:ext>
                </a:extLst>
              </p:cNvPr>
              <p:cNvSpPr>
                <a:spLocks/>
              </p:cNvSpPr>
              <p:nvPr/>
            </p:nvSpPr>
            <p:spPr bwMode="auto">
              <a:xfrm>
                <a:off x="6991747" y="4156075"/>
                <a:ext cx="196850" cy="269875"/>
              </a:xfrm>
              <a:custGeom>
                <a:avLst/>
                <a:gdLst>
                  <a:gd name="T0" fmla="*/ 101 w 273"/>
                  <a:gd name="T1" fmla="*/ 159 h 374"/>
                  <a:gd name="T2" fmla="*/ 101 w 273"/>
                  <a:gd name="T3" fmla="*/ 82 h 374"/>
                  <a:gd name="T4" fmla="*/ 129 w 273"/>
                  <a:gd name="T5" fmla="*/ 110 h 374"/>
                  <a:gd name="T6" fmla="*/ 159 w 273"/>
                  <a:gd name="T7" fmla="*/ 80 h 374"/>
                  <a:gd name="T8" fmla="*/ 79 w 273"/>
                  <a:gd name="T9" fmla="*/ 0 h 374"/>
                  <a:gd name="T10" fmla="*/ 0 w 273"/>
                  <a:gd name="T11" fmla="*/ 80 h 374"/>
                  <a:gd name="T12" fmla="*/ 30 w 273"/>
                  <a:gd name="T13" fmla="*/ 110 h 374"/>
                  <a:gd name="T14" fmla="*/ 58 w 273"/>
                  <a:gd name="T15" fmla="*/ 82 h 374"/>
                  <a:gd name="T16" fmla="*/ 58 w 273"/>
                  <a:gd name="T17" fmla="*/ 159 h 374"/>
                  <a:gd name="T18" fmla="*/ 273 w 273"/>
                  <a:gd name="T19" fmla="*/ 374 h 374"/>
                  <a:gd name="T20" fmla="*/ 273 w 273"/>
                  <a:gd name="T21" fmla="*/ 331 h 374"/>
                  <a:gd name="T22" fmla="*/ 101 w 273"/>
                  <a:gd name="T23" fmla="*/ 159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74">
                    <a:moveTo>
                      <a:pt x="101" y="159"/>
                    </a:moveTo>
                    <a:cubicBezTo>
                      <a:pt x="101" y="82"/>
                      <a:pt x="101" y="82"/>
                      <a:pt x="101" y="82"/>
                    </a:cubicBezTo>
                    <a:cubicBezTo>
                      <a:pt x="129" y="110"/>
                      <a:pt x="129" y="110"/>
                      <a:pt x="129" y="110"/>
                    </a:cubicBezTo>
                    <a:cubicBezTo>
                      <a:pt x="159" y="80"/>
                      <a:pt x="159" y="80"/>
                      <a:pt x="159" y="80"/>
                    </a:cubicBezTo>
                    <a:cubicBezTo>
                      <a:pt x="79" y="0"/>
                      <a:pt x="79" y="0"/>
                      <a:pt x="79" y="0"/>
                    </a:cubicBezTo>
                    <a:cubicBezTo>
                      <a:pt x="0" y="80"/>
                      <a:pt x="0" y="80"/>
                      <a:pt x="0" y="80"/>
                    </a:cubicBezTo>
                    <a:cubicBezTo>
                      <a:pt x="30" y="110"/>
                      <a:pt x="30" y="110"/>
                      <a:pt x="30" y="110"/>
                    </a:cubicBezTo>
                    <a:cubicBezTo>
                      <a:pt x="58" y="82"/>
                      <a:pt x="58" y="82"/>
                      <a:pt x="58" y="82"/>
                    </a:cubicBezTo>
                    <a:cubicBezTo>
                      <a:pt x="58" y="159"/>
                      <a:pt x="58" y="159"/>
                      <a:pt x="58" y="159"/>
                    </a:cubicBezTo>
                    <a:cubicBezTo>
                      <a:pt x="58" y="278"/>
                      <a:pt x="154" y="374"/>
                      <a:pt x="273" y="374"/>
                    </a:cubicBezTo>
                    <a:cubicBezTo>
                      <a:pt x="273" y="331"/>
                      <a:pt x="273" y="331"/>
                      <a:pt x="273" y="331"/>
                    </a:cubicBezTo>
                    <a:cubicBezTo>
                      <a:pt x="178" y="331"/>
                      <a:pt x="101" y="254"/>
                      <a:pt x="101"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a:extLst>
                  <a:ext uri="{FF2B5EF4-FFF2-40B4-BE49-F238E27FC236}">
                    <a16:creationId xmlns:a16="http://schemas.microsoft.com/office/drawing/2014/main" id="{2AA278E9-A20F-5239-D1DA-F2B2B02159D4}"/>
                  </a:ext>
                </a:extLst>
              </p:cNvPr>
              <p:cNvSpPr>
                <a:spLocks noChangeArrowheads="1"/>
              </p:cNvSpPr>
              <p:nvPr/>
            </p:nvSpPr>
            <p:spPr bwMode="auto">
              <a:xfrm>
                <a:off x="6986985" y="3930650"/>
                <a:ext cx="401637"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a:extLst>
                  <a:ext uri="{FF2B5EF4-FFF2-40B4-BE49-F238E27FC236}">
                    <a16:creationId xmlns:a16="http://schemas.microsoft.com/office/drawing/2014/main" id="{7E5C42D8-29C0-6036-2718-A8011BDAABA2}"/>
                  </a:ext>
                </a:extLst>
              </p:cNvPr>
              <p:cNvSpPr>
                <a:spLocks noChangeArrowheads="1"/>
              </p:cNvSpPr>
              <p:nvPr/>
            </p:nvSpPr>
            <p:spPr bwMode="auto">
              <a:xfrm>
                <a:off x="6986985" y="4054475"/>
                <a:ext cx="401637"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a:extLst>
                  <a:ext uri="{FF2B5EF4-FFF2-40B4-BE49-F238E27FC236}">
                    <a16:creationId xmlns:a16="http://schemas.microsoft.com/office/drawing/2014/main" id="{E2FC6A77-680C-B45D-6643-09AF0EE51BD1}"/>
                  </a:ext>
                </a:extLst>
              </p:cNvPr>
              <p:cNvSpPr>
                <a:spLocks noChangeArrowheads="1"/>
              </p:cNvSpPr>
              <p:nvPr/>
            </p:nvSpPr>
            <p:spPr bwMode="auto">
              <a:xfrm>
                <a:off x="6986985" y="3992563"/>
                <a:ext cx="185737"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a:extLst>
                  <a:ext uri="{FF2B5EF4-FFF2-40B4-BE49-F238E27FC236}">
                    <a16:creationId xmlns:a16="http://schemas.microsoft.com/office/drawing/2014/main" id="{030E78FB-5FAD-3F6C-E71C-4D8E23D55F9D}"/>
                  </a:ext>
                </a:extLst>
              </p:cNvPr>
              <p:cNvSpPr>
                <a:spLocks/>
              </p:cNvSpPr>
              <p:nvPr/>
            </p:nvSpPr>
            <p:spPr bwMode="auto">
              <a:xfrm>
                <a:off x="7202885" y="3992563"/>
                <a:ext cx="185737" cy="30163"/>
              </a:xfrm>
              <a:custGeom>
                <a:avLst/>
                <a:gdLst>
                  <a:gd name="T0" fmla="*/ 56 w 117"/>
                  <a:gd name="T1" fmla="*/ 0 h 19"/>
                  <a:gd name="T2" fmla="*/ 10 w 117"/>
                  <a:gd name="T3" fmla="*/ 0 h 19"/>
                  <a:gd name="T4" fmla="*/ 0 w 117"/>
                  <a:gd name="T5" fmla="*/ 0 h 19"/>
                  <a:gd name="T6" fmla="*/ 0 w 117"/>
                  <a:gd name="T7" fmla="*/ 19 h 19"/>
                  <a:gd name="T8" fmla="*/ 10 w 117"/>
                  <a:gd name="T9" fmla="*/ 19 h 19"/>
                  <a:gd name="T10" fmla="*/ 56 w 117"/>
                  <a:gd name="T11" fmla="*/ 19 h 19"/>
                  <a:gd name="T12" fmla="*/ 117 w 117"/>
                  <a:gd name="T13" fmla="*/ 19 h 19"/>
                  <a:gd name="T14" fmla="*/ 117 w 117"/>
                  <a:gd name="T15" fmla="*/ 0 h 19"/>
                  <a:gd name="T16" fmla="*/ 56 w 1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9">
                    <a:moveTo>
                      <a:pt x="56" y="0"/>
                    </a:moveTo>
                    <a:lnTo>
                      <a:pt x="10" y="0"/>
                    </a:lnTo>
                    <a:lnTo>
                      <a:pt x="0" y="0"/>
                    </a:lnTo>
                    <a:lnTo>
                      <a:pt x="0" y="19"/>
                    </a:lnTo>
                    <a:lnTo>
                      <a:pt x="10" y="19"/>
                    </a:lnTo>
                    <a:lnTo>
                      <a:pt x="56" y="19"/>
                    </a:lnTo>
                    <a:lnTo>
                      <a:pt x="117" y="19"/>
                    </a:lnTo>
                    <a:lnTo>
                      <a:pt x="117"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4">
                <a:extLst>
                  <a:ext uri="{FF2B5EF4-FFF2-40B4-BE49-F238E27FC236}">
                    <a16:creationId xmlns:a16="http://schemas.microsoft.com/office/drawing/2014/main" id="{F7DA3097-1DDC-CA52-047E-30F18157CABC}"/>
                  </a:ext>
                </a:extLst>
              </p:cNvPr>
              <p:cNvSpPr>
                <a:spLocks noChangeArrowheads="1"/>
              </p:cNvSpPr>
              <p:nvPr/>
            </p:nvSpPr>
            <p:spPr bwMode="auto">
              <a:xfrm>
                <a:off x="7590235" y="3467100"/>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5">
                <a:extLst>
                  <a:ext uri="{FF2B5EF4-FFF2-40B4-BE49-F238E27FC236}">
                    <a16:creationId xmlns:a16="http://schemas.microsoft.com/office/drawing/2014/main" id="{3768DBBB-2741-B449-2ECB-EFB9DC2C1040}"/>
                  </a:ext>
                </a:extLst>
              </p:cNvPr>
              <p:cNvSpPr>
                <a:spLocks noChangeArrowheads="1"/>
              </p:cNvSpPr>
              <p:nvPr/>
            </p:nvSpPr>
            <p:spPr bwMode="auto">
              <a:xfrm>
                <a:off x="7528322" y="3467100"/>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6">
                <a:extLst>
                  <a:ext uri="{FF2B5EF4-FFF2-40B4-BE49-F238E27FC236}">
                    <a16:creationId xmlns:a16="http://schemas.microsoft.com/office/drawing/2014/main" id="{0D362E1E-7366-9B9C-0BDE-7BC0E343F32A}"/>
                  </a:ext>
                </a:extLst>
              </p:cNvPr>
              <p:cNvSpPr>
                <a:spLocks noChangeArrowheads="1"/>
              </p:cNvSpPr>
              <p:nvPr/>
            </p:nvSpPr>
            <p:spPr bwMode="auto">
              <a:xfrm>
                <a:off x="7218760" y="4394200"/>
                <a:ext cx="31750"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7">
                <a:extLst>
                  <a:ext uri="{FF2B5EF4-FFF2-40B4-BE49-F238E27FC236}">
                    <a16:creationId xmlns:a16="http://schemas.microsoft.com/office/drawing/2014/main" id="{B6A604EB-D174-03AA-78B7-841B421D15A6}"/>
                  </a:ext>
                </a:extLst>
              </p:cNvPr>
              <p:cNvSpPr>
                <a:spLocks noChangeArrowheads="1"/>
              </p:cNvSpPr>
              <p:nvPr/>
            </p:nvSpPr>
            <p:spPr bwMode="auto">
              <a:xfrm>
                <a:off x="7280672" y="4394200"/>
                <a:ext cx="30162"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63B61632-0683-CF0E-4506-94A1A543907F}"/>
                  </a:ext>
                </a:extLst>
              </p:cNvPr>
              <p:cNvGrpSpPr/>
              <p:nvPr/>
            </p:nvGrpSpPr>
            <p:grpSpPr>
              <a:xfrm>
                <a:off x="7005311" y="3381355"/>
                <a:ext cx="371428" cy="421894"/>
                <a:chOff x="-1030288" y="2389188"/>
                <a:chExt cx="876300" cy="995362"/>
              </a:xfrm>
              <a:grpFill/>
            </p:grpSpPr>
            <p:sp>
              <p:nvSpPr>
                <p:cNvPr id="21" name="Freeform 14">
                  <a:extLst>
                    <a:ext uri="{FF2B5EF4-FFF2-40B4-BE49-F238E27FC236}">
                      <a16:creationId xmlns:a16="http://schemas.microsoft.com/office/drawing/2014/main" id="{2037BA71-1CC9-EFF0-A736-B495797FE228}"/>
                    </a:ext>
                  </a:extLst>
                </p:cNvPr>
                <p:cNvSpPr>
                  <a:spLocks noEditPoints="1"/>
                </p:cNvSpPr>
                <p:nvPr/>
              </p:nvSpPr>
              <p:spPr bwMode="auto">
                <a:xfrm>
                  <a:off x="-1030288" y="2565400"/>
                  <a:ext cx="876300" cy="819150"/>
                </a:xfrm>
                <a:custGeom>
                  <a:avLst/>
                  <a:gdLst>
                    <a:gd name="T0" fmla="*/ 1182 w 1182"/>
                    <a:gd name="T1" fmla="*/ 514 h 1105"/>
                    <a:gd name="T2" fmla="*/ 834 w 1182"/>
                    <a:gd name="T3" fmla="*/ 396 h 1105"/>
                    <a:gd name="T4" fmla="*/ 867 w 1182"/>
                    <a:gd name="T5" fmla="*/ 157 h 1105"/>
                    <a:gd name="T6" fmla="*/ 670 w 1182"/>
                    <a:gd name="T7" fmla="*/ 0 h 1105"/>
                    <a:gd name="T8" fmla="*/ 610 w 1182"/>
                    <a:gd name="T9" fmla="*/ 116 h 1105"/>
                    <a:gd name="T10" fmla="*/ 276 w 1182"/>
                    <a:gd name="T11" fmla="*/ 318 h 1105"/>
                    <a:gd name="T12" fmla="*/ 0 w 1182"/>
                    <a:gd name="T13" fmla="*/ 357 h 1105"/>
                    <a:gd name="T14" fmla="*/ 40 w 1182"/>
                    <a:gd name="T15" fmla="*/ 1105 h 1105"/>
                    <a:gd name="T16" fmla="*/ 383 w 1182"/>
                    <a:gd name="T17" fmla="*/ 1038 h 1105"/>
                    <a:gd name="T18" fmla="*/ 655 w 1182"/>
                    <a:gd name="T19" fmla="*/ 1105 h 1105"/>
                    <a:gd name="T20" fmla="*/ 1103 w 1182"/>
                    <a:gd name="T21" fmla="*/ 987 h 1105"/>
                    <a:gd name="T22" fmla="*/ 1182 w 1182"/>
                    <a:gd name="T23" fmla="*/ 829 h 1105"/>
                    <a:gd name="T24" fmla="*/ 1182 w 1182"/>
                    <a:gd name="T25" fmla="*/ 672 h 1105"/>
                    <a:gd name="T26" fmla="*/ 315 w 1182"/>
                    <a:gd name="T27" fmla="*/ 987 h 1105"/>
                    <a:gd name="T28" fmla="*/ 79 w 1182"/>
                    <a:gd name="T29" fmla="*/ 1026 h 1105"/>
                    <a:gd name="T30" fmla="*/ 276 w 1182"/>
                    <a:gd name="T31" fmla="*/ 396 h 1105"/>
                    <a:gd name="T32" fmla="*/ 315 w 1182"/>
                    <a:gd name="T33" fmla="*/ 987 h 1105"/>
                    <a:gd name="T34" fmla="*/ 1063 w 1182"/>
                    <a:gd name="T35" fmla="*/ 632 h 1105"/>
                    <a:gd name="T36" fmla="*/ 1063 w 1182"/>
                    <a:gd name="T37" fmla="*/ 711 h 1105"/>
                    <a:gd name="T38" fmla="*/ 945 w 1182"/>
                    <a:gd name="T39" fmla="*/ 751 h 1105"/>
                    <a:gd name="T40" fmla="*/ 1063 w 1182"/>
                    <a:gd name="T41" fmla="*/ 790 h 1105"/>
                    <a:gd name="T42" fmla="*/ 1063 w 1182"/>
                    <a:gd name="T43" fmla="*/ 869 h 1105"/>
                    <a:gd name="T44" fmla="*/ 945 w 1182"/>
                    <a:gd name="T45" fmla="*/ 908 h 1105"/>
                    <a:gd name="T46" fmla="*/ 1024 w 1182"/>
                    <a:gd name="T47" fmla="*/ 987 h 1105"/>
                    <a:gd name="T48" fmla="*/ 655 w 1182"/>
                    <a:gd name="T49" fmla="*/ 1026 h 1105"/>
                    <a:gd name="T50" fmla="*/ 394 w 1182"/>
                    <a:gd name="T51" fmla="*/ 958 h 1105"/>
                    <a:gd name="T52" fmla="*/ 571 w 1182"/>
                    <a:gd name="T53" fmla="*/ 356 h 1105"/>
                    <a:gd name="T54" fmla="*/ 700 w 1182"/>
                    <a:gd name="T55" fmla="*/ 79 h 1105"/>
                    <a:gd name="T56" fmla="*/ 788 w 1182"/>
                    <a:gd name="T57" fmla="*/ 157 h 1105"/>
                    <a:gd name="T58" fmla="*/ 750 w 1182"/>
                    <a:gd name="T59" fmla="*/ 396 h 1105"/>
                    <a:gd name="T60" fmla="*/ 630 w 1182"/>
                    <a:gd name="T61" fmla="*/ 436 h 1105"/>
                    <a:gd name="T62" fmla="*/ 1063 w 1182"/>
                    <a:gd name="T63" fmla="*/ 475 h 1105"/>
                    <a:gd name="T64" fmla="*/ 1063 w 1182"/>
                    <a:gd name="T65" fmla="*/ 554 h 1105"/>
                    <a:gd name="T66" fmla="*/ 945 w 1182"/>
                    <a:gd name="T67" fmla="*/ 593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2" h="1105">
                      <a:moveTo>
                        <a:pt x="1151" y="593"/>
                      </a:moveTo>
                      <a:cubicBezTo>
                        <a:pt x="1170" y="572"/>
                        <a:pt x="1182" y="545"/>
                        <a:pt x="1182" y="514"/>
                      </a:cubicBezTo>
                      <a:cubicBezTo>
                        <a:pt x="1182" y="449"/>
                        <a:pt x="1129" y="396"/>
                        <a:pt x="1063" y="396"/>
                      </a:cubicBezTo>
                      <a:cubicBezTo>
                        <a:pt x="834" y="396"/>
                        <a:pt x="834" y="396"/>
                        <a:pt x="834" y="396"/>
                      </a:cubicBezTo>
                      <a:cubicBezTo>
                        <a:pt x="857" y="327"/>
                        <a:pt x="867" y="236"/>
                        <a:pt x="867" y="197"/>
                      </a:cubicBezTo>
                      <a:cubicBezTo>
                        <a:pt x="867" y="157"/>
                        <a:pt x="867" y="157"/>
                        <a:pt x="867" y="157"/>
                      </a:cubicBezTo>
                      <a:cubicBezTo>
                        <a:pt x="867" y="71"/>
                        <a:pt x="796" y="0"/>
                        <a:pt x="709" y="0"/>
                      </a:cubicBezTo>
                      <a:cubicBezTo>
                        <a:pt x="670" y="0"/>
                        <a:pt x="670" y="0"/>
                        <a:pt x="670" y="0"/>
                      </a:cubicBezTo>
                      <a:cubicBezTo>
                        <a:pt x="652" y="0"/>
                        <a:pt x="636" y="12"/>
                        <a:pt x="632" y="30"/>
                      </a:cubicBezTo>
                      <a:cubicBezTo>
                        <a:pt x="610" y="116"/>
                        <a:pt x="610" y="116"/>
                        <a:pt x="610" y="116"/>
                      </a:cubicBezTo>
                      <a:cubicBezTo>
                        <a:pt x="580" y="236"/>
                        <a:pt x="485" y="368"/>
                        <a:pt x="386" y="392"/>
                      </a:cubicBezTo>
                      <a:cubicBezTo>
                        <a:pt x="369" y="349"/>
                        <a:pt x="326" y="318"/>
                        <a:pt x="276" y="318"/>
                      </a:cubicBezTo>
                      <a:cubicBezTo>
                        <a:pt x="40" y="318"/>
                        <a:pt x="40" y="318"/>
                        <a:pt x="40" y="318"/>
                      </a:cubicBezTo>
                      <a:cubicBezTo>
                        <a:pt x="18" y="318"/>
                        <a:pt x="0" y="335"/>
                        <a:pt x="0" y="357"/>
                      </a:cubicBezTo>
                      <a:cubicBezTo>
                        <a:pt x="0" y="1066"/>
                        <a:pt x="0" y="1066"/>
                        <a:pt x="0" y="1066"/>
                      </a:cubicBezTo>
                      <a:cubicBezTo>
                        <a:pt x="0" y="1087"/>
                        <a:pt x="18" y="1105"/>
                        <a:pt x="40" y="1105"/>
                      </a:cubicBezTo>
                      <a:cubicBezTo>
                        <a:pt x="276" y="1105"/>
                        <a:pt x="276" y="1105"/>
                        <a:pt x="276" y="1105"/>
                      </a:cubicBezTo>
                      <a:cubicBezTo>
                        <a:pt x="323" y="1105"/>
                        <a:pt x="364" y="1077"/>
                        <a:pt x="383" y="1038"/>
                      </a:cubicBezTo>
                      <a:cubicBezTo>
                        <a:pt x="518" y="1083"/>
                        <a:pt x="518" y="1083"/>
                        <a:pt x="518" y="1083"/>
                      </a:cubicBezTo>
                      <a:cubicBezTo>
                        <a:pt x="562" y="1097"/>
                        <a:pt x="608" y="1105"/>
                        <a:pt x="655" y="1105"/>
                      </a:cubicBezTo>
                      <a:cubicBezTo>
                        <a:pt x="985" y="1105"/>
                        <a:pt x="985" y="1105"/>
                        <a:pt x="985" y="1105"/>
                      </a:cubicBezTo>
                      <a:cubicBezTo>
                        <a:pt x="1050" y="1105"/>
                        <a:pt x="1103" y="1052"/>
                        <a:pt x="1103" y="987"/>
                      </a:cubicBezTo>
                      <a:cubicBezTo>
                        <a:pt x="1103" y="971"/>
                        <a:pt x="1100" y="957"/>
                        <a:pt x="1095" y="943"/>
                      </a:cubicBezTo>
                      <a:cubicBezTo>
                        <a:pt x="1145" y="930"/>
                        <a:pt x="1182" y="884"/>
                        <a:pt x="1182" y="829"/>
                      </a:cubicBezTo>
                      <a:cubicBezTo>
                        <a:pt x="1182" y="799"/>
                        <a:pt x="1170" y="771"/>
                        <a:pt x="1151" y="751"/>
                      </a:cubicBezTo>
                      <a:cubicBezTo>
                        <a:pt x="1170" y="730"/>
                        <a:pt x="1182" y="702"/>
                        <a:pt x="1182" y="672"/>
                      </a:cubicBezTo>
                      <a:cubicBezTo>
                        <a:pt x="1182" y="642"/>
                        <a:pt x="1170" y="614"/>
                        <a:pt x="1151" y="593"/>
                      </a:cubicBezTo>
                      <a:close/>
                      <a:moveTo>
                        <a:pt x="315" y="987"/>
                      </a:moveTo>
                      <a:cubicBezTo>
                        <a:pt x="315" y="1008"/>
                        <a:pt x="298" y="1026"/>
                        <a:pt x="276" y="1026"/>
                      </a:cubicBezTo>
                      <a:cubicBezTo>
                        <a:pt x="79" y="1026"/>
                        <a:pt x="79" y="1026"/>
                        <a:pt x="79" y="1026"/>
                      </a:cubicBezTo>
                      <a:cubicBezTo>
                        <a:pt x="79" y="396"/>
                        <a:pt x="79" y="396"/>
                        <a:pt x="79" y="396"/>
                      </a:cubicBezTo>
                      <a:cubicBezTo>
                        <a:pt x="276" y="396"/>
                        <a:pt x="276" y="396"/>
                        <a:pt x="276" y="396"/>
                      </a:cubicBezTo>
                      <a:cubicBezTo>
                        <a:pt x="298" y="396"/>
                        <a:pt x="315" y="414"/>
                        <a:pt x="315" y="436"/>
                      </a:cubicBezTo>
                      <a:lnTo>
                        <a:pt x="315" y="987"/>
                      </a:lnTo>
                      <a:close/>
                      <a:moveTo>
                        <a:pt x="985" y="632"/>
                      </a:moveTo>
                      <a:cubicBezTo>
                        <a:pt x="1063" y="632"/>
                        <a:pt x="1063" y="632"/>
                        <a:pt x="1063" y="632"/>
                      </a:cubicBezTo>
                      <a:cubicBezTo>
                        <a:pt x="1085" y="632"/>
                        <a:pt x="1103" y="650"/>
                        <a:pt x="1103" y="672"/>
                      </a:cubicBezTo>
                      <a:cubicBezTo>
                        <a:pt x="1103" y="694"/>
                        <a:pt x="1085" y="711"/>
                        <a:pt x="1063" y="711"/>
                      </a:cubicBezTo>
                      <a:cubicBezTo>
                        <a:pt x="985" y="711"/>
                        <a:pt x="985" y="711"/>
                        <a:pt x="985" y="711"/>
                      </a:cubicBezTo>
                      <a:cubicBezTo>
                        <a:pt x="963" y="711"/>
                        <a:pt x="945" y="729"/>
                        <a:pt x="945" y="751"/>
                      </a:cubicBezTo>
                      <a:cubicBezTo>
                        <a:pt x="945" y="772"/>
                        <a:pt x="963" y="790"/>
                        <a:pt x="985" y="790"/>
                      </a:cubicBezTo>
                      <a:cubicBezTo>
                        <a:pt x="1063" y="790"/>
                        <a:pt x="1063" y="790"/>
                        <a:pt x="1063" y="790"/>
                      </a:cubicBezTo>
                      <a:cubicBezTo>
                        <a:pt x="1085" y="790"/>
                        <a:pt x="1103" y="808"/>
                        <a:pt x="1103" y="829"/>
                      </a:cubicBezTo>
                      <a:cubicBezTo>
                        <a:pt x="1103" y="851"/>
                        <a:pt x="1085" y="869"/>
                        <a:pt x="1063" y="869"/>
                      </a:cubicBezTo>
                      <a:cubicBezTo>
                        <a:pt x="985" y="869"/>
                        <a:pt x="985" y="869"/>
                        <a:pt x="985" y="869"/>
                      </a:cubicBezTo>
                      <a:cubicBezTo>
                        <a:pt x="963" y="869"/>
                        <a:pt x="945" y="886"/>
                        <a:pt x="945" y="908"/>
                      </a:cubicBezTo>
                      <a:cubicBezTo>
                        <a:pt x="945" y="930"/>
                        <a:pt x="963" y="947"/>
                        <a:pt x="985" y="947"/>
                      </a:cubicBezTo>
                      <a:cubicBezTo>
                        <a:pt x="1006" y="947"/>
                        <a:pt x="1024" y="965"/>
                        <a:pt x="1024" y="987"/>
                      </a:cubicBezTo>
                      <a:cubicBezTo>
                        <a:pt x="1024" y="1008"/>
                        <a:pt x="1006" y="1026"/>
                        <a:pt x="985" y="1026"/>
                      </a:cubicBezTo>
                      <a:cubicBezTo>
                        <a:pt x="655" y="1026"/>
                        <a:pt x="655" y="1026"/>
                        <a:pt x="655" y="1026"/>
                      </a:cubicBezTo>
                      <a:cubicBezTo>
                        <a:pt x="617" y="1026"/>
                        <a:pt x="579" y="1020"/>
                        <a:pt x="543" y="1008"/>
                      </a:cubicBezTo>
                      <a:cubicBezTo>
                        <a:pt x="394" y="958"/>
                        <a:pt x="394" y="958"/>
                        <a:pt x="394" y="958"/>
                      </a:cubicBezTo>
                      <a:cubicBezTo>
                        <a:pt x="394" y="471"/>
                        <a:pt x="394" y="471"/>
                        <a:pt x="394" y="471"/>
                      </a:cubicBezTo>
                      <a:cubicBezTo>
                        <a:pt x="456" y="460"/>
                        <a:pt x="516" y="420"/>
                        <a:pt x="571" y="356"/>
                      </a:cubicBezTo>
                      <a:cubicBezTo>
                        <a:pt x="624" y="294"/>
                        <a:pt x="667" y="211"/>
                        <a:pt x="686" y="135"/>
                      </a:cubicBezTo>
                      <a:cubicBezTo>
                        <a:pt x="700" y="79"/>
                        <a:pt x="700" y="79"/>
                        <a:pt x="700" y="79"/>
                      </a:cubicBezTo>
                      <a:cubicBezTo>
                        <a:pt x="709" y="79"/>
                        <a:pt x="709" y="79"/>
                        <a:pt x="709" y="79"/>
                      </a:cubicBezTo>
                      <a:cubicBezTo>
                        <a:pt x="753" y="79"/>
                        <a:pt x="788" y="114"/>
                        <a:pt x="788" y="157"/>
                      </a:cubicBezTo>
                      <a:cubicBezTo>
                        <a:pt x="788" y="197"/>
                        <a:pt x="788" y="197"/>
                        <a:pt x="788" y="197"/>
                      </a:cubicBezTo>
                      <a:cubicBezTo>
                        <a:pt x="788" y="250"/>
                        <a:pt x="771" y="351"/>
                        <a:pt x="750" y="396"/>
                      </a:cubicBezTo>
                      <a:cubicBezTo>
                        <a:pt x="670" y="396"/>
                        <a:pt x="670" y="396"/>
                        <a:pt x="670" y="396"/>
                      </a:cubicBezTo>
                      <a:cubicBezTo>
                        <a:pt x="648" y="396"/>
                        <a:pt x="630" y="414"/>
                        <a:pt x="630" y="436"/>
                      </a:cubicBezTo>
                      <a:cubicBezTo>
                        <a:pt x="630" y="457"/>
                        <a:pt x="648" y="475"/>
                        <a:pt x="670" y="475"/>
                      </a:cubicBezTo>
                      <a:cubicBezTo>
                        <a:pt x="1063" y="475"/>
                        <a:pt x="1063" y="475"/>
                        <a:pt x="1063" y="475"/>
                      </a:cubicBezTo>
                      <a:cubicBezTo>
                        <a:pt x="1085" y="475"/>
                        <a:pt x="1103" y="493"/>
                        <a:pt x="1103" y="514"/>
                      </a:cubicBezTo>
                      <a:cubicBezTo>
                        <a:pt x="1103" y="536"/>
                        <a:pt x="1085" y="554"/>
                        <a:pt x="1063" y="554"/>
                      </a:cubicBezTo>
                      <a:cubicBezTo>
                        <a:pt x="985" y="554"/>
                        <a:pt x="985" y="554"/>
                        <a:pt x="985" y="554"/>
                      </a:cubicBezTo>
                      <a:cubicBezTo>
                        <a:pt x="963" y="554"/>
                        <a:pt x="945" y="571"/>
                        <a:pt x="945" y="593"/>
                      </a:cubicBezTo>
                      <a:cubicBezTo>
                        <a:pt x="945" y="615"/>
                        <a:pt x="963" y="632"/>
                        <a:pt x="985" y="6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15">
                  <a:extLst>
                    <a:ext uri="{FF2B5EF4-FFF2-40B4-BE49-F238E27FC236}">
                      <a16:creationId xmlns:a16="http://schemas.microsoft.com/office/drawing/2014/main" id="{A1106CA4-E48A-BBF3-9F38-5C4948174E8E}"/>
                    </a:ext>
                  </a:extLst>
                </p:cNvPr>
                <p:cNvSpPr>
                  <a:spLocks noChangeArrowheads="1"/>
                </p:cNvSpPr>
                <p:nvPr/>
              </p:nvSpPr>
              <p:spPr bwMode="auto">
                <a:xfrm>
                  <a:off x="-912813" y="3209925"/>
                  <a:ext cx="58738"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A8E0C370-AC19-41CE-F453-1C8740B145CD}"/>
                    </a:ext>
                  </a:extLst>
                </p:cNvPr>
                <p:cNvSpPr>
                  <a:spLocks/>
                </p:cNvSpPr>
                <p:nvPr/>
              </p:nvSpPr>
              <p:spPr bwMode="auto">
                <a:xfrm>
                  <a:off x="-504826" y="2389188"/>
                  <a:ext cx="58738" cy="117475"/>
                </a:xfrm>
                <a:custGeom>
                  <a:avLst/>
                  <a:gdLst>
                    <a:gd name="T0" fmla="*/ 39 w 79"/>
                    <a:gd name="T1" fmla="*/ 0 h 160"/>
                    <a:gd name="T2" fmla="*/ 0 w 79"/>
                    <a:gd name="T3" fmla="*/ 39 h 160"/>
                    <a:gd name="T4" fmla="*/ 0 w 79"/>
                    <a:gd name="T5" fmla="*/ 121 h 160"/>
                    <a:gd name="T6" fmla="*/ 39 w 79"/>
                    <a:gd name="T7" fmla="*/ 160 h 160"/>
                    <a:gd name="T8" fmla="*/ 79 w 79"/>
                    <a:gd name="T9" fmla="*/ 121 h 160"/>
                    <a:gd name="T10" fmla="*/ 79 w 79"/>
                    <a:gd name="T11" fmla="*/ 39 h 160"/>
                    <a:gd name="T12" fmla="*/ 39 w 7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79" h="160">
                      <a:moveTo>
                        <a:pt x="39" y="0"/>
                      </a:moveTo>
                      <a:cubicBezTo>
                        <a:pt x="18" y="0"/>
                        <a:pt x="0" y="18"/>
                        <a:pt x="0" y="39"/>
                      </a:cubicBezTo>
                      <a:cubicBezTo>
                        <a:pt x="0" y="121"/>
                        <a:pt x="0" y="121"/>
                        <a:pt x="0" y="121"/>
                      </a:cubicBezTo>
                      <a:cubicBezTo>
                        <a:pt x="0" y="143"/>
                        <a:pt x="18" y="160"/>
                        <a:pt x="39" y="160"/>
                      </a:cubicBezTo>
                      <a:cubicBezTo>
                        <a:pt x="61" y="160"/>
                        <a:pt x="79" y="143"/>
                        <a:pt x="79" y="121"/>
                      </a:cubicBezTo>
                      <a:cubicBezTo>
                        <a:pt x="79" y="39"/>
                        <a:pt x="79" y="39"/>
                        <a:pt x="79" y="39"/>
                      </a:cubicBezTo>
                      <a:cubicBezTo>
                        <a:pt x="79" y="18"/>
                        <a:pt x="61" y="0"/>
                        <a:pt x="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FD002806-D3B9-4808-92EC-AC7DEFC012FB}"/>
                    </a:ext>
                  </a:extLst>
                </p:cNvPr>
                <p:cNvSpPr>
                  <a:spLocks/>
                </p:cNvSpPr>
                <p:nvPr/>
              </p:nvSpPr>
              <p:spPr bwMode="auto">
                <a:xfrm>
                  <a:off x="-692151" y="2465388"/>
                  <a:ext cx="104775" cy="104775"/>
                </a:xfrm>
                <a:custGeom>
                  <a:avLst/>
                  <a:gdLst>
                    <a:gd name="T0" fmla="*/ 126 w 142"/>
                    <a:gd name="T1" fmla="*/ 71 h 142"/>
                    <a:gd name="T2" fmla="*/ 71 w 142"/>
                    <a:gd name="T3" fmla="*/ 15 h 142"/>
                    <a:gd name="T4" fmla="*/ 15 w 142"/>
                    <a:gd name="T5" fmla="*/ 15 h 142"/>
                    <a:gd name="T6" fmla="*/ 15 w 142"/>
                    <a:gd name="T7" fmla="*/ 71 h 142"/>
                    <a:gd name="T8" fmla="*/ 71 w 142"/>
                    <a:gd name="T9" fmla="*/ 126 h 142"/>
                    <a:gd name="T10" fmla="*/ 126 w 142"/>
                    <a:gd name="T11" fmla="*/ 126 h 142"/>
                    <a:gd name="T12" fmla="*/ 126 w 142"/>
                    <a:gd name="T13" fmla="*/ 71 h 142"/>
                  </a:gdLst>
                  <a:ahLst/>
                  <a:cxnLst>
                    <a:cxn ang="0">
                      <a:pos x="T0" y="T1"/>
                    </a:cxn>
                    <a:cxn ang="0">
                      <a:pos x="T2" y="T3"/>
                    </a:cxn>
                    <a:cxn ang="0">
                      <a:pos x="T4" y="T5"/>
                    </a:cxn>
                    <a:cxn ang="0">
                      <a:pos x="T6" y="T7"/>
                    </a:cxn>
                    <a:cxn ang="0">
                      <a:pos x="T8" y="T9"/>
                    </a:cxn>
                    <a:cxn ang="0">
                      <a:pos x="T10" y="T11"/>
                    </a:cxn>
                    <a:cxn ang="0">
                      <a:pos x="T12" y="T13"/>
                    </a:cxn>
                  </a:cxnLst>
                  <a:rect l="0" t="0" r="r" b="b"/>
                  <a:pathLst>
                    <a:path w="142" h="142">
                      <a:moveTo>
                        <a:pt x="126" y="71"/>
                      </a:moveTo>
                      <a:cubicBezTo>
                        <a:pt x="71" y="15"/>
                        <a:pt x="71" y="15"/>
                        <a:pt x="71" y="15"/>
                      </a:cubicBezTo>
                      <a:cubicBezTo>
                        <a:pt x="55" y="0"/>
                        <a:pt x="30" y="0"/>
                        <a:pt x="15" y="15"/>
                      </a:cubicBezTo>
                      <a:cubicBezTo>
                        <a:pt x="0" y="30"/>
                        <a:pt x="0" y="55"/>
                        <a:pt x="15" y="71"/>
                      </a:cubicBezTo>
                      <a:cubicBezTo>
                        <a:pt x="71" y="126"/>
                        <a:pt x="71" y="126"/>
                        <a:pt x="71" y="126"/>
                      </a:cubicBezTo>
                      <a:cubicBezTo>
                        <a:pt x="86" y="142"/>
                        <a:pt x="111" y="142"/>
                        <a:pt x="126" y="126"/>
                      </a:cubicBezTo>
                      <a:cubicBezTo>
                        <a:pt x="142" y="111"/>
                        <a:pt x="142" y="86"/>
                        <a:pt x="12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6D0159D-207B-1F36-87B2-FE5DABF0B5A1}"/>
                    </a:ext>
                  </a:extLst>
                </p:cNvPr>
                <p:cNvSpPr>
                  <a:spLocks/>
                </p:cNvSpPr>
                <p:nvPr/>
              </p:nvSpPr>
              <p:spPr bwMode="auto">
                <a:xfrm>
                  <a:off x="-363538" y="2465388"/>
                  <a:ext cx="106363" cy="104775"/>
                </a:xfrm>
                <a:custGeom>
                  <a:avLst/>
                  <a:gdLst>
                    <a:gd name="T0" fmla="*/ 127 w 142"/>
                    <a:gd name="T1" fmla="*/ 15 h 142"/>
                    <a:gd name="T2" fmla="*/ 71 w 142"/>
                    <a:gd name="T3" fmla="*/ 15 h 142"/>
                    <a:gd name="T4" fmla="*/ 16 w 142"/>
                    <a:gd name="T5" fmla="*/ 71 h 142"/>
                    <a:gd name="T6" fmla="*/ 16 w 142"/>
                    <a:gd name="T7" fmla="*/ 126 h 142"/>
                    <a:gd name="T8" fmla="*/ 71 w 142"/>
                    <a:gd name="T9" fmla="*/ 126 h 142"/>
                    <a:gd name="T10" fmla="*/ 127 w 142"/>
                    <a:gd name="T11" fmla="*/ 71 h 142"/>
                    <a:gd name="T12" fmla="*/ 127 w 142"/>
                    <a:gd name="T13" fmla="*/ 15 h 142"/>
                  </a:gdLst>
                  <a:ahLst/>
                  <a:cxnLst>
                    <a:cxn ang="0">
                      <a:pos x="T0" y="T1"/>
                    </a:cxn>
                    <a:cxn ang="0">
                      <a:pos x="T2" y="T3"/>
                    </a:cxn>
                    <a:cxn ang="0">
                      <a:pos x="T4" y="T5"/>
                    </a:cxn>
                    <a:cxn ang="0">
                      <a:pos x="T6" y="T7"/>
                    </a:cxn>
                    <a:cxn ang="0">
                      <a:pos x="T8" y="T9"/>
                    </a:cxn>
                    <a:cxn ang="0">
                      <a:pos x="T10" y="T11"/>
                    </a:cxn>
                    <a:cxn ang="0">
                      <a:pos x="T12" y="T13"/>
                    </a:cxn>
                  </a:cxnLst>
                  <a:rect l="0" t="0" r="r" b="b"/>
                  <a:pathLst>
                    <a:path w="142" h="142">
                      <a:moveTo>
                        <a:pt x="127" y="15"/>
                      </a:moveTo>
                      <a:cubicBezTo>
                        <a:pt x="111" y="0"/>
                        <a:pt x="87" y="0"/>
                        <a:pt x="71" y="15"/>
                      </a:cubicBezTo>
                      <a:cubicBezTo>
                        <a:pt x="16" y="71"/>
                        <a:pt x="16" y="71"/>
                        <a:pt x="16" y="71"/>
                      </a:cubicBezTo>
                      <a:cubicBezTo>
                        <a:pt x="0" y="86"/>
                        <a:pt x="0" y="111"/>
                        <a:pt x="16" y="126"/>
                      </a:cubicBezTo>
                      <a:cubicBezTo>
                        <a:pt x="31" y="142"/>
                        <a:pt x="56" y="142"/>
                        <a:pt x="71" y="126"/>
                      </a:cubicBezTo>
                      <a:cubicBezTo>
                        <a:pt x="127" y="71"/>
                        <a:pt x="127" y="71"/>
                        <a:pt x="127" y="71"/>
                      </a:cubicBezTo>
                      <a:cubicBezTo>
                        <a:pt x="142" y="55"/>
                        <a:pt x="142" y="30"/>
                        <a:pt x="12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4" name="Group 13">
            <a:extLst>
              <a:ext uri="{FF2B5EF4-FFF2-40B4-BE49-F238E27FC236}">
                <a16:creationId xmlns:a16="http://schemas.microsoft.com/office/drawing/2014/main" id="{340EE38C-C391-CC28-9134-1ED64BB4A569}"/>
              </a:ext>
            </a:extLst>
          </p:cNvPr>
          <p:cNvGrpSpPr/>
          <p:nvPr/>
        </p:nvGrpSpPr>
        <p:grpSpPr>
          <a:xfrm>
            <a:off x="8815956" y="1822514"/>
            <a:ext cx="2314800" cy="3900341"/>
            <a:chOff x="8815956" y="1822514"/>
            <a:chExt cx="2314800" cy="3900341"/>
          </a:xfrm>
        </p:grpSpPr>
        <p:sp>
          <p:nvSpPr>
            <p:cNvPr id="72" name="Rounded Rectangle 131">
              <a:extLst>
                <a:ext uri="{FF2B5EF4-FFF2-40B4-BE49-F238E27FC236}">
                  <a16:creationId xmlns:a16="http://schemas.microsoft.com/office/drawing/2014/main" id="{0C84E867-A081-4459-0E17-A71E0A71E954}"/>
                </a:ext>
              </a:extLst>
            </p:cNvPr>
            <p:cNvSpPr/>
            <p:nvPr/>
          </p:nvSpPr>
          <p:spPr>
            <a:xfrm>
              <a:off x="8816903" y="1822514"/>
              <a:ext cx="2312907" cy="3900341"/>
            </a:xfrm>
            <a:prstGeom prst="roundRect">
              <a:avLst>
                <a:gd name="adj" fmla="val 556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65" name="Inhaltsplatzhalter 4">
              <a:extLst>
                <a:ext uri="{FF2B5EF4-FFF2-40B4-BE49-F238E27FC236}">
                  <a16:creationId xmlns:a16="http://schemas.microsoft.com/office/drawing/2014/main" id="{4B64C6BB-7C07-423E-CF66-9564D459E17C}"/>
                </a:ext>
              </a:extLst>
            </p:cNvPr>
            <p:cNvSpPr txBox="1">
              <a:spLocks/>
            </p:cNvSpPr>
            <p:nvPr/>
          </p:nvSpPr>
          <p:spPr>
            <a:xfrm>
              <a:off x="8815956" y="1957558"/>
              <a:ext cx="2314800" cy="1057588"/>
            </a:xfrm>
            <a:prstGeom prst="rect">
              <a:avLst/>
            </a:prstGeom>
          </p:spPr>
          <p:txBody>
            <a:bodyPr wrap="square" lIns="36000" tIns="36000" rIns="36000" bIns="3600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Arial Black"/>
                  <a:ea typeface="+mn-ea"/>
                  <a:cs typeface="+mn-cs"/>
                </a:rPr>
                <a:t> SOFTWARE APPLICATIONS &amp; MANAGED SERVICES </a:t>
              </a:r>
            </a:p>
          </p:txBody>
        </p:sp>
        <p:sp>
          <p:nvSpPr>
            <p:cNvPr id="81" name="Inhaltsplatzhalter 4">
              <a:extLst>
                <a:ext uri="{FF2B5EF4-FFF2-40B4-BE49-F238E27FC236}">
                  <a16:creationId xmlns:a16="http://schemas.microsoft.com/office/drawing/2014/main" id="{01C2B397-6333-D8C5-2EAE-7F55A9861844}"/>
                </a:ext>
              </a:extLst>
            </p:cNvPr>
            <p:cNvSpPr txBox="1">
              <a:spLocks/>
            </p:cNvSpPr>
            <p:nvPr/>
          </p:nvSpPr>
          <p:spPr>
            <a:xfrm>
              <a:off x="8815956" y="4497655"/>
              <a:ext cx="2314800" cy="898126"/>
            </a:xfrm>
            <a:prstGeom prst="rect">
              <a:avLst/>
            </a:prstGeom>
          </p:spPr>
          <p:txBody>
            <a:bodyPr wrap="square" lIns="36000" tIns="36000" rIns="3600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Arial "/>
                  <a:ea typeface="+mn-ea"/>
                  <a:cs typeface="+mn-cs"/>
                </a:rPr>
                <a:t>New tiering of packaged software applications, managed services </a:t>
              </a:r>
              <a:br>
                <a:rPr kumimoji="0" lang="en-US" sz="1400" b="0" i="0" u="none" strike="noStrike" kern="1200" cap="none" spc="0" normalizeH="0" baseline="0" noProof="0">
                  <a:ln>
                    <a:noFill/>
                  </a:ln>
                  <a:solidFill>
                    <a:prstClr val="white"/>
                  </a:solidFill>
                  <a:effectLst/>
                  <a:uLnTx/>
                  <a:uFillTx/>
                  <a:latin typeface="Arial "/>
                  <a:ea typeface="+mn-ea"/>
                  <a:cs typeface="+mn-cs"/>
                </a:rPr>
              </a:br>
              <a:r>
                <a:rPr kumimoji="0" lang="en-US" sz="1400" b="0" i="0" u="none" strike="noStrike" kern="1200" cap="none" spc="0" normalizeH="0" baseline="0" noProof="0">
                  <a:ln>
                    <a:noFill/>
                  </a:ln>
                  <a:solidFill>
                    <a:prstClr val="white"/>
                  </a:solidFill>
                  <a:effectLst/>
                  <a:uLnTx/>
                  <a:uFillTx/>
                  <a:latin typeface="Arial "/>
                  <a:ea typeface="+mn-ea"/>
                  <a:cs typeface="+mn-cs"/>
                </a:rPr>
                <a:t>aligned to outcomes</a:t>
              </a:r>
            </a:p>
          </p:txBody>
        </p:sp>
        <p:grpSp>
          <p:nvGrpSpPr>
            <p:cNvPr id="38" name="Group 37">
              <a:extLst>
                <a:ext uri="{FF2B5EF4-FFF2-40B4-BE49-F238E27FC236}">
                  <a16:creationId xmlns:a16="http://schemas.microsoft.com/office/drawing/2014/main" id="{457F3F9A-C879-7439-494A-0BCC3849CCF4}"/>
                </a:ext>
              </a:extLst>
            </p:cNvPr>
            <p:cNvGrpSpPr/>
            <p:nvPr/>
          </p:nvGrpSpPr>
          <p:grpSpPr>
            <a:xfrm>
              <a:off x="9535440" y="3166676"/>
              <a:ext cx="875833" cy="891604"/>
              <a:chOff x="-336551" y="2679701"/>
              <a:chExt cx="706439" cy="819149"/>
            </a:xfrm>
            <a:solidFill>
              <a:schemeClr val="bg1"/>
            </a:solidFill>
          </p:grpSpPr>
          <p:sp>
            <p:nvSpPr>
              <p:cNvPr id="39" name="Oval 25">
                <a:extLst>
                  <a:ext uri="{FF2B5EF4-FFF2-40B4-BE49-F238E27FC236}">
                    <a16:creationId xmlns:a16="http://schemas.microsoft.com/office/drawing/2014/main" id="{F93409D6-5A47-4AD9-730B-334A2B135161}"/>
                  </a:ext>
                </a:extLst>
              </p:cNvPr>
              <p:cNvSpPr>
                <a:spLocks noChangeArrowheads="1"/>
              </p:cNvSpPr>
              <p:nvPr/>
            </p:nvSpPr>
            <p:spPr bwMode="auto">
              <a:xfrm>
                <a:off x="-100013" y="2863850"/>
                <a:ext cx="122238" cy="1222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6">
                <a:extLst>
                  <a:ext uri="{FF2B5EF4-FFF2-40B4-BE49-F238E27FC236}">
                    <a16:creationId xmlns:a16="http://schemas.microsoft.com/office/drawing/2014/main" id="{8C5460E7-22E5-5123-A9D4-86A429392891}"/>
                  </a:ext>
                </a:extLst>
              </p:cNvPr>
              <p:cNvSpPr>
                <a:spLocks noEditPoints="1"/>
              </p:cNvSpPr>
              <p:nvPr/>
            </p:nvSpPr>
            <p:spPr bwMode="auto">
              <a:xfrm>
                <a:off x="-336551" y="2679701"/>
                <a:ext cx="706439" cy="819149"/>
              </a:xfrm>
              <a:custGeom>
                <a:avLst/>
                <a:gdLst>
                  <a:gd name="T0" fmla="*/ 163 w 1158"/>
                  <a:gd name="T1" fmla="*/ 1308 h 1345"/>
                  <a:gd name="T2" fmla="*/ 726 w 1158"/>
                  <a:gd name="T3" fmla="*/ 1345 h 1345"/>
                  <a:gd name="T4" fmla="*/ 763 w 1158"/>
                  <a:gd name="T5" fmla="*/ 1176 h 1345"/>
                  <a:gd name="T6" fmla="*/ 1017 w 1158"/>
                  <a:gd name="T7" fmla="*/ 1070 h 1345"/>
                  <a:gd name="T8" fmla="*/ 1103 w 1158"/>
                  <a:gd name="T9" fmla="*/ 881 h 1345"/>
                  <a:gd name="T10" fmla="*/ 1048 w 1158"/>
                  <a:gd name="T11" fmla="*/ 637 h 1345"/>
                  <a:gd name="T12" fmla="*/ 1016 w 1158"/>
                  <a:gd name="T13" fmla="*/ 509 h 1345"/>
                  <a:gd name="T14" fmla="*/ 505 w 1158"/>
                  <a:gd name="T15" fmla="*/ 3 h 1345"/>
                  <a:gd name="T16" fmla="*/ 58 w 1158"/>
                  <a:gd name="T17" fmla="*/ 740 h 1345"/>
                  <a:gd name="T18" fmla="*/ 220 w 1158"/>
                  <a:gd name="T19" fmla="*/ 386 h 1345"/>
                  <a:gd name="T20" fmla="*/ 290 w 1158"/>
                  <a:gd name="T21" fmla="*/ 340 h 1345"/>
                  <a:gd name="T22" fmla="*/ 303 w 1158"/>
                  <a:gd name="T23" fmla="*/ 325 h 1345"/>
                  <a:gd name="T24" fmla="*/ 280 w 1158"/>
                  <a:gd name="T25" fmla="*/ 252 h 1345"/>
                  <a:gd name="T26" fmla="*/ 311 w 1158"/>
                  <a:gd name="T27" fmla="*/ 201 h 1345"/>
                  <a:gd name="T28" fmla="*/ 393 w 1158"/>
                  <a:gd name="T29" fmla="*/ 218 h 1345"/>
                  <a:gd name="T30" fmla="*/ 412 w 1158"/>
                  <a:gd name="T31" fmla="*/ 217 h 1345"/>
                  <a:gd name="T32" fmla="*/ 449 w 1158"/>
                  <a:gd name="T33" fmla="*/ 149 h 1345"/>
                  <a:gd name="T34" fmla="*/ 506 w 1158"/>
                  <a:gd name="T35" fmla="*/ 134 h 1345"/>
                  <a:gd name="T36" fmla="*/ 552 w 1158"/>
                  <a:gd name="T37" fmla="*/ 205 h 1345"/>
                  <a:gd name="T38" fmla="*/ 566 w 1158"/>
                  <a:gd name="T39" fmla="*/ 218 h 1345"/>
                  <a:gd name="T40" fmla="*/ 640 w 1158"/>
                  <a:gd name="T41" fmla="*/ 195 h 1345"/>
                  <a:gd name="T42" fmla="*/ 691 w 1158"/>
                  <a:gd name="T43" fmla="*/ 225 h 1345"/>
                  <a:gd name="T44" fmla="*/ 674 w 1158"/>
                  <a:gd name="T45" fmla="*/ 308 h 1345"/>
                  <a:gd name="T46" fmla="*/ 674 w 1158"/>
                  <a:gd name="T47" fmla="*/ 326 h 1345"/>
                  <a:gd name="T48" fmla="*/ 743 w 1158"/>
                  <a:gd name="T49" fmla="*/ 363 h 1345"/>
                  <a:gd name="T50" fmla="*/ 758 w 1158"/>
                  <a:gd name="T51" fmla="*/ 420 h 1345"/>
                  <a:gd name="T52" fmla="*/ 687 w 1158"/>
                  <a:gd name="T53" fmla="*/ 466 h 1345"/>
                  <a:gd name="T54" fmla="*/ 674 w 1158"/>
                  <a:gd name="T55" fmla="*/ 480 h 1345"/>
                  <a:gd name="T56" fmla="*/ 697 w 1158"/>
                  <a:gd name="T57" fmla="*/ 554 h 1345"/>
                  <a:gd name="T58" fmla="*/ 667 w 1158"/>
                  <a:gd name="T59" fmla="*/ 605 h 1345"/>
                  <a:gd name="T60" fmla="*/ 584 w 1158"/>
                  <a:gd name="T61" fmla="*/ 588 h 1345"/>
                  <a:gd name="T62" fmla="*/ 565 w 1158"/>
                  <a:gd name="T63" fmla="*/ 588 h 1345"/>
                  <a:gd name="T64" fmla="*/ 529 w 1158"/>
                  <a:gd name="T65" fmla="*/ 657 h 1345"/>
                  <a:gd name="T66" fmla="*/ 471 w 1158"/>
                  <a:gd name="T67" fmla="*/ 672 h 1345"/>
                  <a:gd name="T68" fmla="*/ 426 w 1158"/>
                  <a:gd name="T69" fmla="*/ 602 h 1345"/>
                  <a:gd name="T70" fmla="*/ 411 w 1158"/>
                  <a:gd name="T71" fmla="*/ 588 h 1345"/>
                  <a:gd name="T72" fmla="*/ 338 w 1158"/>
                  <a:gd name="T73" fmla="*/ 611 h 1345"/>
                  <a:gd name="T74" fmla="*/ 286 w 1158"/>
                  <a:gd name="T75" fmla="*/ 581 h 1345"/>
                  <a:gd name="T76" fmla="*/ 304 w 1158"/>
                  <a:gd name="T77" fmla="*/ 499 h 1345"/>
                  <a:gd name="T78" fmla="*/ 303 w 1158"/>
                  <a:gd name="T79" fmla="*/ 479 h 1345"/>
                  <a:gd name="T80" fmla="*/ 235 w 1158"/>
                  <a:gd name="T81" fmla="*/ 443 h 1345"/>
                  <a:gd name="T82" fmla="*/ 220 w 1158"/>
                  <a:gd name="T83" fmla="*/ 386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8" h="1345">
                    <a:moveTo>
                      <a:pt x="163" y="1173"/>
                    </a:moveTo>
                    <a:cubicBezTo>
                      <a:pt x="163" y="1308"/>
                      <a:pt x="163" y="1308"/>
                      <a:pt x="163" y="1308"/>
                    </a:cubicBezTo>
                    <a:cubicBezTo>
                      <a:pt x="163" y="1329"/>
                      <a:pt x="180" y="1345"/>
                      <a:pt x="200" y="1345"/>
                    </a:cubicBezTo>
                    <a:cubicBezTo>
                      <a:pt x="726" y="1345"/>
                      <a:pt x="726" y="1345"/>
                      <a:pt x="726" y="1345"/>
                    </a:cubicBezTo>
                    <a:cubicBezTo>
                      <a:pt x="746" y="1345"/>
                      <a:pt x="763" y="1329"/>
                      <a:pt x="763" y="1308"/>
                    </a:cubicBezTo>
                    <a:cubicBezTo>
                      <a:pt x="763" y="1176"/>
                      <a:pt x="763" y="1176"/>
                      <a:pt x="763" y="1176"/>
                    </a:cubicBezTo>
                    <a:cubicBezTo>
                      <a:pt x="910" y="1176"/>
                      <a:pt x="910" y="1176"/>
                      <a:pt x="910" y="1176"/>
                    </a:cubicBezTo>
                    <a:cubicBezTo>
                      <a:pt x="969" y="1176"/>
                      <a:pt x="1017" y="1129"/>
                      <a:pt x="1017" y="1070"/>
                    </a:cubicBezTo>
                    <a:cubicBezTo>
                      <a:pt x="1017" y="883"/>
                      <a:pt x="1017" y="883"/>
                      <a:pt x="1017" y="883"/>
                    </a:cubicBezTo>
                    <a:cubicBezTo>
                      <a:pt x="1103" y="881"/>
                      <a:pt x="1103" y="881"/>
                      <a:pt x="1103" y="881"/>
                    </a:cubicBezTo>
                    <a:cubicBezTo>
                      <a:pt x="1137" y="881"/>
                      <a:pt x="1158" y="844"/>
                      <a:pt x="1142" y="814"/>
                    </a:cubicBezTo>
                    <a:cubicBezTo>
                      <a:pt x="1048" y="637"/>
                      <a:pt x="1048" y="637"/>
                      <a:pt x="1048" y="637"/>
                    </a:cubicBezTo>
                    <a:cubicBezTo>
                      <a:pt x="1027" y="598"/>
                      <a:pt x="1016" y="554"/>
                      <a:pt x="1016" y="509"/>
                    </a:cubicBezTo>
                    <a:cubicBezTo>
                      <a:pt x="1016" y="509"/>
                      <a:pt x="1016" y="509"/>
                      <a:pt x="1016" y="509"/>
                    </a:cubicBezTo>
                    <a:cubicBezTo>
                      <a:pt x="1016" y="509"/>
                      <a:pt x="1016" y="509"/>
                      <a:pt x="1016" y="509"/>
                    </a:cubicBezTo>
                    <a:cubicBezTo>
                      <a:pt x="1016" y="228"/>
                      <a:pt x="787" y="0"/>
                      <a:pt x="505" y="3"/>
                    </a:cubicBezTo>
                    <a:cubicBezTo>
                      <a:pt x="224" y="5"/>
                      <a:pt x="0" y="234"/>
                      <a:pt x="3" y="515"/>
                    </a:cubicBezTo>
                    <a:cubicBezTo>
                      <a:pt x="3" y="596"/>
                      <a:pt x="23" y="672"/>
                      <a:pt x="58" y="740"/>
                    </a:cubicBezTo>
                    <a:cubicBezTo>
                      <a:pt x="127" y="874"/>
                      <a:pt x="163" y="1022"/>
                      <a:pt x="163" y="1173"/>
                    </a:cubicBezTo>
                    <a:close/>
                    <a:moveTo>
                      <a:pt x="220" y="386"/>
                    </a:moveTo>
                    <a:cubicBezTo>
                      <a:pt x="220" y="376"/>
                      <a:pt x="225" y="367"/>
                      <a:pt x="234" y="364"/>
                    </a:cubicBezTo>
                    <a:cubicBezTo>
                      <a:pt x="290" y="340"/>
                      <a:pt x="290" y="340"/>
                      <a:pt x="290" y="340"/>
                    </a:cubicBezTo>
                    <a:cubicBezTo>
                      <a:pt x="295" y="338"/>
                      <a:pt x="300" y="333"/>
                      <a:pt x="302" y="327"/>
                    </a:cubicBezTo>
                    <a:cubicBezTo>
                      <a:pt x="303" y="326"/>
                      <a:pt x="303" y="326"/>
                      <a:pt x="303" y="325"/>
                    </a:cubicBezTo>
                    <a:cubicBezTo>
                      <a:pt x="306" y="319"/>
                      <a:pt x="306" y="313"/>
                      <a:pt x="303" y="307"/>
                    </a:cubicBezTo>
                    <a:cubicBezTo>
                      <a:pt x="280" y="252"/>
                      <a:pt x="280" y="252"/>
                      <a:pt x="280" y="252"/>
                    </a:cubicBezTo>
                    <a:cubicBezTo>
                      <a:pt x="277" y="243"/>
                      <a:pt x="279" y="233"/>
                      <a:pt x="286" y="226"/>
                    </a:cubicBezTo>
                    <a:cubicBezTo>
                      <a:pt x="311" y="201"/>
                      <a:pt x="311" y="201"/>
                      <a:pt x="311" y="201"/>
                    </a:cubicBezTo>
                    <a:cubicBezTo>
                      <a:pt x="318" y="194"/>
                      <a:pt x="328" y="192"/>
                      <a:pt x="337" y="195"/>
                    </a:cubicBezTo>
                    <a:cubicBezTo>
                      <a:pt x="393" y="218"/>
                      <a:pt x="393" y="218"/>
                      <a:pt x="393" y="218"/>
                    </a:cubicBezTo>
                    <a:cubicBezTo>
                      <a:pt x="398" y="220"/>
                      <a:pt x="405" y="220"/>
                      <a:pt x="411" y="218"/>
                    </a:cubicBezTo>
                    <a:cubicBezTo>
                      <a:pt x="411" y="218"/>
                      <a:pt x="412" y="217"/>
                      <a:pt x="412" y="217"/>
                    </a:cubicBezTo>
                    <a:cubicBezTo>
                      <a:pt x="418" y="215"/>
                      <a:pt x="423" y="210"/>
                      <a:pt x="425" y="204"/>
                    </a:cubicBezTo>
                    <a:cubicBezTo>
                      <a:pt x="449" y="149"/>
                      <a:pt x="449" y="149"/>
                      <a:pt x="449" y="149"/>
                    </a:cubicBezTo>
                    <a:cubicBezTo>
                      <a:pt x="452" y="140"/>
                      <a:pt x="461" y="134"/>
                      <a:pt x="471" y="134"/>
                    </a:cubicBezTo>
                    <a:cubicBezTo>
                      <a:pt x="506" y="134"/>
                      <a:pt x="506" y="134"/>
                      <a:pt x="506" y="134"/>
                    </a:cubicBezTo>
                    <a:cubicBezTo>
                      <a:pt x="516" y="134"/>
                      <a:pt x="524" y="140"/>
                      <a:pt x="528" y="149"/>
                    </a:cubicBezTo>
                    <a:cubicBezTo>
                      <a:pt x="552" y="205"/>
                      <a:pt x="552" y="205"/>
                      <a:pt x="552" y="205"/>
                    </a:cubicBezTo>
                    <a:cubicBezTo>
                      <a:pt x="555" y="211"/>
                      <a:pt x="559" y="215"/>
                      <a:pt x="565" y="217"/>
                    </a:cubicBezTo>
                    <a:cubicBezTo>
                      <a:pt x="565" y="218"/>
                      <a:pt x="566" y="218"/>
                      <a:pt x="566" y="218"/>
                    </a:cubicBezTo>
                    <a:cubicBezTo>
                      <a:pt x="572" y="220"/>
                      <a:pt x="578" y="220"/>
                      <a:pt x="584" y="218"/>
                    </a:cubicBezTo>
                    <a:cubicBezTo>
                      <a:pt x="640" y="195"/>
                      <a:pt x="640" y="195"/>
                      <a:pt x="640" y="195"/>
                    </a:cubicBezTo>
                    <a:cubicBezTo>
                      <a:pt x="649" y="191"/>
                      <a:pt x="659" y="193"/>
                      <a:pt x="666" y="200"/>
                    </a:cubicBezTo>
                    <a:cubicBezTo>
                      <a:pt x="691" y="225"/>
                      <a:pt x="691" y="225"/>
                      <a:pt x="691" y="225"/>
                    </a:cubicBezTo>
                    <a:cubicBezTo>
                      <a:pt x="698" y="232"/>
                      <a:pt x="700" y="242"/>
                      <a:pt x="696" y="251"/>
                    </a:cubicBezTo>
                    <a:cubicBezTo>
                      <a:pt x="674" y="308"/>
                      <a:pt x="674" y="308"/>
                      <a:pt x="674" y="308"/>
                    </a:cubicBezTo>
                    <a:cubicBezTo>
                      <a:pt x="671" y="314"/>
                      <a:pt x="671" y="320"/>
                      <a:pt x="674" y="326"/>
                    </a:cubicBezTo>
                    <a:cubicBezTo>
                      <a:pt x="674" y="326"/>
                      <a:pt x="674" y="326"/>
                      <a:pt x="674" y="326"/>
                    </a:cubicBezTo>
                    <a:cubicBezTo>
                      <a:pt x="676" y="332"/>
                      <a:pt x="681" y="337"/>
                      <a:pt x="687" y="339"/>
                    </a:cubicBezTo>
                    <a:cubicBezTo>
                      <a:pt x="743" y="363"/>
                      <a:pt x="743" y="363"/>
                      <a:pt x="743" y="363"/>
                    </a:cubicBezTo>
                    <a:cubicBezTo>
                      <a:pt x="752" y="367"/>
                      <a:pt x="758" y="375"/>
                      <a:pt x="758" y="385"/>
                    </a:cubicBezTo>
                    <a:cubicBezTo>
                      <a:pt x="758" y="420"/>
                      <a:pt x="758" y="420"/>
                      <a:pt x="758" y="420"/>
                    </a:cubicBezTo>
                    <a:cubicBezTo>
                      <a:pt x="758" y="430"/>
                      <a:pt x="752" y="439"/>
                      <a:pt x="743" y="442"/>
                    </a:cubicBezTo>
                    <a:cubicBezTo>
                      <a:pt x="687" y="466"/>
                      <a:pt x="687" y="466"/>
                      <a:pt x="687" y="466"/>
                    </a:cubicBezTo>
                    <a:cubicBezTo>
                      <a:pt x="681" y="469"/>
                      <a:pt x="676" y="474"/>
                      <a:pt x="674" y="480"/>
                    </a:cubicBezTo>
                    <a:cubicBezTo>
                      <a:pt x="674" y="480"/>
                      <a:pt x="674" y="480"/>
                      <a:pt x="674" y="480"/>
                    </a:cubicBezTo>
                    <a:cubicBezTo>
                      <a:pt x="671" y="486"/>
                      <a:pt x="671" y="492"/>
                      <a:pt x="674" y="498"/>
                    </a:cubicBezTo>
                    <a:cubicBezTo>
                      <a:pt x="697" y="554"/>
                      <a:pt x="697" y="554"/>
                      <a:pt x="697" y="554"/>
                    </a:cubicBezTo>
                    <a:cubicBezTo>
                      <a:pt x="701" y="563"/>
                      <a:pt x="699" y="573"/>
                      <a:pt x="692" y="580"/>
                    </a:cubicBezTo>
                    <a:cubicBezTo>
                      <a:pt x="667" y="605"/>
                      <a:pt x="667" y="605"/>
                      <a:pt x="667" y="605"/>
                    </a:cubicBezTo>
                    <a:cubicBezTo>
                      <a:pt x="660" y="612"/>
                      <a:pt x="650" y="614"/>
                      <a:pt x="641" y="611"/>
                    </a:cubicBezTo>
                    <a:cubicBezTo>
                      <a:pt x="584" y="588"/>
                      <a:pt x="584" y="588"/>
                      <a:pt x="584" y="588"/>
                    </a:cubicBezTo>
                    <a:cubicBezTo>
                      <a:pt x="578" y="586"/>
                      <a:pt x="572" y="586"/>
                      <a:pt x="566" y="588"/>
                    </a:cubicBezTo>
                    <a:cubicBezTo>
                      <a:pt x="566" y="588"/>
                      <a:pt x="565" y="588"/>
                      <a:pt x="565" y="588"/>
                    </a:cubicBezTo>
                    <a:cubicBezTo>
                      <a:pt x="559" y="591"/>
                      <a:pt x="555" y="595"/>
                      <a:pt x="552" y="601"/>
                    </a:cubicBezTo>
                    <a:cubicBezTo>
                      <a:pt x="529" y="657"/>
                      <a:pt x="529" y="657"/>
                      <a:pt x="529" y="657"/>
                    </a:cubicBezTo>
                    <a:cubicBezTo>
                      <a:pt x="525" y="666"/>
                      <a:pt x="517" y="672"/>
                      <a:pt x="507" y="672"/>
                    </a:cubicBezTo>
                    <a:cubicBezTo>
                      <a:pt x="471" y="672"/>
                      <a:pt x="471" y="672"/>
                      <a:pt x="471" y="672"/>
                    </a:cubicBezTo>
                    <a:cubicBezTo>
                      <a:pt x="462" y="672"/>
                      <a:pt x="453" y="666"/>
                      <a:pt x="450" y="657"/>
                    </a:cubicBezTo>
                    <a:cubicBezTo>
                      <a:pt x="426" y="602"/>
                      <a:pt x="426" y="602"/>
                      <a:pt x="426" y="602"/>
                    </a:cubicBezTo>
                    <a:cubicBezTo>
                      <a:pt x="423" y="596"/>
                      <a:pt x="418" y="591"/>
                      <a:pt x="412" y="589"/>
                    </a:cubicBezTo>
                    <a:cubicBezTo>
                      <a:pt x="412" y="589"/>
                      <a:pt x="411" y="589"/>
                      <a:pt x="411" y="588"/>
                    </a:cubicBezTo>
                    <a:cubicBezTo>
                      <a:pt x="405" y="586"/>
                      <a:pt x="399" y="586"/>
                      <a:pt x="393" y="588"/>
                    </a:cubicBezTo>
                    <a:cubicBezTo>
                      <a:pt x="338" y="611"/>
                      <a:pt x="338" y="611"/>
                      <a:pt x="338" y="611"/>
                    </a:cubicBezTo>
                    <a:cubicBezTo>
                      <a:pt x="329" y="615"/>
                      <a:pt x="318" y="613"/>
                      <a:pt x="312" y="606"/>
                    </a:cubicBezTo>
                    <a:cubicBezTo>
                      <a:pt x="286" y="581"/>
                      <a:pt x="286" y="581"/>
                      <a:pt x="286" y="581"/>
                    </a:cubicBezTo>
                    <a:cubicBezTo>
                      <a:pt x="280" y="574"/>
                      <a:pt x="278" y="564"/>
                      <a:pt x="281" y="555"/>
                    </a:cubicBezTo>
                    <a:cubicBezTo>
                      <a:pt x="304" y="499"/>
                      <a:pt x="304" y="499"/>
                      <a:pt x="304" y="499"/>
                    </a:cubicBezTo>
                    <a:cubicBezTo>
                      <a:pt x="306" y="494"/>
                      <a:pt x="306" y="487"/>
                      <a:pt x="303" y="481"/>
                    </a:cubicBezTo>
                    <a:cubicBezTo>
                      <a:pt x="303" y="481"/>
                      <a:pt x="303" y="480"/>
                      <a:pt x="303" y="479"/>
                    </a:cubicBezTo>
                    <a:cubicBezTo>
                      <a:pt x="300" y="473"/>
                      <a:pt x="296" y="468"/>
                      <a:pt x="290" y="466"/>
                    </a:cubicBezTo>
                    <a:cubicBezTo>
                      <a:pt x="235" y="443"/>
                      <a:pt x="235" y="443"/>
                      <a:pt x="235" y="443"/>
                    </a:cubicBezTo>
                    <a:cubicBezTo>
                      <a:pt x="226" y="439"/>
                      <a:pt x="220" y="431"/>
                      <a:pt x="220" y="421"/>
                    </a:cubicBezTo>
                    <a:cubicBezTo>
                      <a:pt x="220" y="386"/>
                      <a:pt x="220" y="386"/>
                      <a:pt x="220" y="386"/>
                    </a:cubicBezTo>
                    <a:cubicBezTo>
                      <a:pt x="220" y="386"/>
                      <a:pt x="220" y="386"/>
                      <a:pt x="220" y="3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a:extLst>
              <a:ext uri="{FF2B5EF4-FFF2-40B4-BE49-F238E27FC236}">
                <a16:creationId xmlns:a16="http://schemas.microsoft.com/office/drawing/2014/main" id="{81F246C4-D6EE-5002-191D-BB08139F33CD}"/>
              </a:ext>
            </a:extLst>
          </p:cNvPr>
          <p:cNvGrpSpPr/>
          <p:nvPr/>
        </p:nvGrpSpPr>
        <p:grpSpPr>
          <a:xfrm>
            <a:off x="3669409" y="1822514"/>
            <a:ext cx="2314800" cy="3900341"/>
            <a:chOff x="3692257" y="1822514"/>
            <a:chExt cx="2314800" cy="3900341"/>
          </a:xfrm>
        </p:grpSpPr>
        <p:sp>
          <p:nvSpPr>
            <p:cNvPr id="70" name="Rounded Rectangle 129">
              <a:extLst>
                <a:ext uri="{FF2B5EF4-FFF2-40B4-BE49-F238E27FC236}">
                  <a16:creationId xmlns:a16="http://schemas.microsoft.com/office/drawing/2014/main" id="{928D87B7-4DD3-91C8-6BA1-7555337A8B5F}"/>
                </a:ext>
              </a:extLst>
            </p:cNvPr>
            <p:cNvSpPr/>
            <p:nvPr/>
          </p:nvSpPr>
          <p:spPr>
            <a:xfrm>
              <a:off x="3693204" y="1822514"/>
              <a:ext cx="2312907" cy="3900341"/>
            </a:xfrm>
            <a:prstGeom prst="roundRect">
              <a:avLst>
                <a:gd name="adj" fmla="val 556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4" name="Inhaltsplatzhalter 4">
              <a:extLst>
                <a:ext uri="{FF2B5EF4-FFF2-40B4-BE49-F238E27FC236}">
                  <a16:creationId xmlns:a16="http://schemas.microsoft.com/office/drawing/2014/main" id="{17FBAE27-0264-51F5-2A20-866F9BD7FE0A}"/>
                </a:ext>
              </a:extLst>
            </p:cNvPr>
            <p:cNvSpPr txBox="1">
              <a:spLocks/>
            </p:cNvSpPr>
            <p:nvPr/>
          </p:nvSpPr>
          <p:spPr>
            <a:xfrm>
              <a:off x="3692257" y="2080668"/>
              <a:ext cx="2314800" cy="565146"/>
            </a:xfrm>
            <a:prstGeom prst="rect">
              <a:avLst/>
            </a:prstGeom>
          </p:spPr>
          <p:txBody>
            <a:bodyPr wrap="square" lIns="36000" tIns="36000" rIns="36000" bIns="3600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Arial Black"/>
                  <a:ea typeface="+mn-ea"/>
                  <a:cs typeface="+mn-cs"/>
                </a:rPr>
                <a:t>DIGITAL SERVICES &amp; PORTAL</a:t>
              </a:r>
            </a:p>
          </p:txBody>
        </p:sp>
        <p:sp>
          <p:nvSpPr>
            <p:cNvPr id="79" name="Inhaltsplatzhalter 4">
              <a:extLst>
                <a:ext uri="{FF2B5EF4-FFF2-40B4-BE49-F238E27FC236}">
                  <a16:creationId xmlns:a16="http://schemas.microsoft.com/office/drawing/2014/main" id="{8A102A97-C21C-4526-A867-9172608BB0A1}"/>
                </a:ext>
              </a:extLst>
            </p:cNvPr>
            <p:cNvSpPr txBox="1">
              <a:spLocks/>
            </p:cNvSpPr>
            <p:nvPr/>
          </p:nvSpPr>
          <p:spPr>
            <a:xfrm>
              <a:off x="3692257" y="4497655"/>
              <a:ext cx="2314800" cy="1026366"/>
            </a:xfrm>
            <a:prstGeom prst="rect">
              <a:avLst/>
            </a:prstGeom>
          </p:spPr>
          <p:txBody>
            <a:bodyPr wrap="square" lIns="36000" tIns="36000" rIns="3600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Partner Portal </a:t>
              </a:r>
            </a:p>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Application packages tailored to customer segment needs </a:t>
              </a:r>
            </a:p>
          </p:txBody>
        </p:sp>
        <p:grpSp>
          <p:nvGrpSpPr>
            <p:cNvPr id="42" name="Group 41">
              <a:extLst>
                <a:ext uri="{FF2B5EF4-FFF2-40B4-BE49-F238E27FC236}">
                  <a16:creationId xmlns:a16="http://schemas.microsoft.com/office/drawing/2014/main" id="{17650F38-FF38-2C02-32D3-CA1C4EFB2857}"/>
                </a:ext>
              </a:extLst>
            </p:cNvPr>
            <p:cNvGrpSpPr/>
            <p:nvPr/>
          </p:nvGrpSpPr>
          <p:grpSpPr>
            <a:xfrm>
              <a:off x="4454029" y="3254019"/>
              <a:ext cx="791256" cy="777266"/>
              <a:chOff x="7759701" y="1939607"/>
              <a:chExt cx="2765425" cy="2716531"/>
            </a:xfrm>
            <a:solidFill>
              <a:schemeClr val="bg1"/>
            </a:solidFill>
          </p:grpSpPr>
          <p:sp>
            <p:nvSpPr>
              <p:cNvPr id="43" name="Freeform 5">
                <a:extLst>
                  <a:ext uri="{FF2B5EF4-FFF2-40B4-BE49-F238E27FC236}">
                    <a16:creationId xmlns:a16="http://schemas.microsoft.com/office/drawing/2014/main" id="{30C8C422-0F23-0104-62D3-93DD6095E095}"/>
                  </a:ext>
                </a:extLst>
              </p:cNvPr>
              <p:cNvSpPr>
                <a:spLocks/>
              </p:cNvSpPr>
              <p:nvPr/>
            </p:nvSpPr>
            <p:spPr bwMode="auto">
              <a:xfrm>
                <a:off x="8398321" y="1939607"/>
                <a:ext cx="1552575" cy="452438"/>
              </a:xfrm>
              <a:custGeom>
                <a:avLst/>
                <a:gdLst>
                  <a:gd name="T0" fmla="*/ 0 w 1246"/>
                  <a:gd name="T1" fmla="*/ 103 h 363"/>
                  <a:gd name="T2" fmla="*/ 0 w 1246"/>
                  <a:gd name="T3" fmla="*/ 363 h 363"/>
                  <a:gd name="T4" fmla="*/ 52 w 1246"/>
                  <a:gd name="T5" fmla="*/ 363 h 363"/>
                  <a:gd name="T6" fmla="*/ 52 w 1246"/>
                  <a:gd name="T7" fmla="*/ 103 h 363"/>
                  <a:gd name="T8" fmla="*/ 104 w 1246"/>
                  <a:gd name="T9" fmla="*/ 52 h 363"/>
                  <a:gd name="T10" fmla="*/ 1142 w 1246"/>
                  <a:gd name="T11" fmla="*/ 52 h 363"/>
                  <a:gd name="T12" fmla="*/ 1194 w 1246"/>
                  <a:gd name="T13" fmla="*/ 103 h 363"/>
                  <a:gd name="T14" fmla="*/ 1246 w 1246"/>
                  <a:gd name="T15" fmla="*/ 103 h 363"/>
                  <a:gd name="T16" fmla="*/ 1142 w 1246"/>
                  <a:gd name="T17" fmla="*/ 0 h 363"/>
                  <a:gd name="T18" fmla="*/ 104 w 1246"/>
                  <a:gd name="T19" fmla="*/ 0 h 363"/>
                  <a:gd name="T20" fmla="*/ 0 w 1246"/>
                  <a:gd name="T21" fmla="*/ 10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6" h="363">
                    <a:moveTo>
                      <a:pt x="0" y="103"/>
                    </a:moveTo>
                    <a:cubicBezTo>
                      <a:pt x="0" y="363"/>
                      <a:pt x="0" y="363"/>
                      <a:pt x="0" y="363"/>
                    </a:cubicBezTo>
                    <a:cubicBezTo>
                      <a:pt x="52" y="363"/>
                      <a:pt x="52" y="363"/>
                      <a:pt x="52" y="363"/>
                    </a:cubicBezTo>
                    <a:cubicBezTo>
                      <a:pt x="52" y="103"/>
                      <a:pt x="52" y="103"/>
                      <a:pt x="52" y="103"/>
                    </a:cubicBezTo>
                    <a:cubicBezTo>
                      <a:pt x="52" y="75"/>
                      <a:pt x="75" y="52"/>
                      <a:pt x="104" y="52"/>
                    </a:cubicBezTo>
                    <a:cubicBezTo>
                      <a:pt x="1142" y="52"/>
                      <a:pt x="1142" y="52"/>
                      <a:pt x="1142" y="52"/>
                    </a:cubicBezTo>
                    <a:cubicBezTo>
                      <a:pt x="1171" y="52"/>
                      <a:pt x="1194" y="75"/>
                      <a:pt x="1194" y="103"/>
                    </a:cubicBezTo>
                    <a:cubicBezTo>
                      <a:pt x="1246" y="103"/>
                      <a:pt x="1246" y="103"/>
                      <a:pt x="1246" y="103"/>
                    </a:cubicBezTo>
                    <a:cubicBezTo>
                      <a:pt x="1246" y="46"/>
                      <a:pt x="1200" y="0"/>
                      <a:pt x="1142" y="0"/>
                    </a:cubicBezTo>
                    <a:cubicBezTo>
                      <a:pt x="104" y="0"/>
                      <a:pt x="104" y="0"/>
                      <a:pt x="104" y="0"/>
                    </a:cubicBezTo>
                    <a:cubicBezTo>
                      <a:pt x="46" y="0"/>
                      <a:pt x="0" y="46"/>
                      <a:pt x="0"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6">
                <a:extLst>
                  <a:ext uri="{FF2B5EF4-FFF2-40B4-BE49-F238E27FC236}">
                    <a16:creationId xmlns:a16="http://schemas.microsoft.com/office/drawing/2014/main" id="{2F186DE7-F1CE-76F8-A689-24604CE77E55}"/>
                  </a:ext>
                </a:extLst>
              </p:cNvPr>
              <p:cNvSpPr>
                <a:spLocks noEditPoints="1"/>
              </p:cNvSpPr>
              <p:nvPr/>
            </p:nvSpPr>
            <p:spPr bwMode="auto">
              <a:xfrm>
                <a:off x="8204646" y="2457133"/>
                <a:ext cx="711200" cy="452438"/>
              </a:xfrm>
              <a:custGeom>
                <a:avLst/>
                <a:gdLst>
                  <a:gd name="T0" fmla="*/ 26 w 571"/>
                  <a:gd name="T1" fmla="*/ 364 h 364"/>
                  <a:gd name="T2" fmla="*/ 545 w 571"/>
                  <a:gd name="T3" fmla="*/ 364 h 364"/>
                  <a:gd name="T4" fmla="*/ 571 w 571"/>
                  <a:gd name="T5" fmla="*/ 338 h 364"/>
                  <a:gd name="T6" fmla="*/ 571 w 571"/>
                  <a:gd name="T7" fmla="*/ 26 h 364"/>
                  <a:gd name="T8" fmla="*/ 545 w 571"/>
                  <a:gd name="T9" fmla="*/ 0 h 364"/>
                  <a:gd name="T10" fmla="*/ 26 w 571"/>
                  <a:gd name="T11" fmla="*/ 0 h 364"/>
                  <a:gd name="T12" fmla="*/ 0 w 571"/>
                  <a:gd name="T13" fmla="*/ 26 h 364"/>
                  <a:gd name="T14" fmla="*/ 0 w 571"/>
                  <a:gd name="T15" fmla="*/ 338 h 364"/>
                  <a:gd name="T16" fmla="*/ 26 w 571"/>
                  <a:gd name="T17" fmla="*/ 364 h 364"/>
                  <a:gd name="T18" fmla="*/ 52 w 571"/>
                  <a:gd name="T19" fmla="*/ 52 h 364"/>
                  <a:gd name="T20" fmla="*/ 519 w 571"/>
                  <a:gd name="T21" fmla="*/ 52 h 364"/>
                  <a:gd name="T22" fmla="*/ 519 w 571"/>
                  <a:gd name="T23" fmla="*/ 312 h 364"/>
                  <a:gd name="T24" fmla="*/ 52 w 571"/>
                  <a:gd name="T25" fmla="*/ 312 h 364"/>
                  <a:gd name="T26" fmla="*/ 52 w 571"/>
                  <a:gd name="T27" fmla="*/ 52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 h="364">
                    <a:moveTo>
                      <a:pt x="26" y="364"/>
                    </a:moveTo>
                    <a:cubicBezTo>
                      <a:pt x="545" y="364"/>
                      <a:pt x="545" y="364"/>
                      <a:pt x="545" y="364"/>
                    </a:cubicBezTo>
                    <a:cubicBezTo>
                      <a:pt x="560" y="364"/>
                      <a:pt x="571" y="352"/>
                      <a:pt x="571" y="338"/>
                    </a:cubicBezTo>
                    <a:cubicBezTo>
                      <a:pt x="571" y="26"/>
                      <a:pt x="571" y="26"/>
                      <a:pt x="571" y="26"/>
                    </a:cubicBezTo>
                    <a:cubicBezTo>
                      <a:pt x="571" y="12"/>
                      <a:pt x="560" y="0"/>
                      <a:pt x="545" y="0"/>
                    </a:cubicBezTo>
                    <a:cubicBezTo>
                      <a:pt x="26" y="0"/>
                      <a:pt x="26" y="0"/>
                      <a:pt x="26" y="0"/>
                    </a:cubicBezTo>
                    <a:cubicBezTo>
                      <a:pt x="12" y="0"/>
                      <a:pt x="0" y="12"/>
                      <a:pt x="0" y="26"/>
                    </a:cubicBezTo>
                    <a:cubicBezTo>
                      <a:pt x="0" y="338"/>
                      <a:pt x="0" y="338"/>
                      <a:pt x="0" y="338"/>
                    </a:cubicBezTo>
                    <a:cubicBezTo>
                      <a:pt x="0" y="352"/>
                      <a:pt x="12" y="364"/>
                      <a:pt x="26" y="364"/>
                    </a:cubicBezTo>
                    <a:close/>
                    <a:moveTo>
                      <a:pt x="52" y="52"/>
                    </a:moveTo>
                    <a:cubicBezTo>
                      <a:pt x="519" y="52"/>
                      <a:pt x="519" y="52"/>
                      <a:pt x="519" y="52"/>
                    </a:cubicBezTo>
                    <a:cubicBezTo>
                      <a:pt x="519" y="312"/>
                      <a:pt x="519" y="312"/>
                      <a:pt x="519" y="312"/>
                    </a:cubicBezTo>
                    <a:cubicBezTo>
                      <a:pt x="52" y="312"/>
                      <a:pt x="52" y="312"/>
                      <a:pt x="52" y="312"/>
                    </a:cubicBez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7">
                <a:extLst>
                  <a:ext uri="{FF2B5EF4-FFF2-40B4-BE49-F238E27FC236}">
                    <a16:creationId xmlns:a16="http://schemas.microsoft.com/office/drawing/2014/main" id="{3B76C3A3-698A-2B93-7D32-0E0FCB23321A}"/>
                  </a:ext>
                </a:extLst>
              </p:cNvPr>
              <p:cNvSpPr>
                <a:spLocks/>
              </p:cNvSpPr>
              <p:nvPr/>
            </p:nvSpPr>
            <p:spPr bwMode="auto">
              <a:xfrm>
                <a:off x="8330058" y="2596833"/>
                <a:ext cx="123825" cy="174625"/>
              </a:xfrm>
              <a:custGeom>
                <a:avLst/>
                <a:gdLst>
                  <a:gd name="T0" fmla="*/ 62 w 99"/>
                  <a:gd name="T1" fmla="*/ 0 h 140"/>
                  <a:gd name="T2" fmla="*/ 10 w 99"/>
                  <a:gd name="T3" fmla="*/ 52 h 140"/>
                  <a:gd name="T4" fmla="*/ 10 w 99"/>
                  <a:gd name="T5" fmla="*/ 88 h 140"/>
                  <a:gd name="T6" fmla="*/ 62 w 99"/>
                  <a:gd name="T7" fmla="*/ 140 h 140"/>
                  <a:gd name="T8" fmla="*/ 99 w 99"/>
                  <a:gd name="T9" fmla="*/ 103 h 140"/>
                  <a:gd name="T10" fmla="*/ 66 w 99"/>
                  <a:gd name="T11" fmla="*/ 70 h 140"/>
                  <a:gd name="T12" fmla="*/ 99 w 99"/>
                  <a:gd name="T13" fmla="*/ 36 h 140"/>
                  <a:gd name="T14" fmla="*/ 62 w 99"/>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40">
                    <a:moveTo>
                      <a:pt x="62" y="0"/>
                    </a:moveTo>
                    <a:cubicBezTo>
                      <a:pt x="10" y="52"/>
                      <a:pt x="10" y="52"/>
                      <a:pt x="10" y="52"/>
                    </a:cubicBezTo>
                    <a:cubicBezTo>
                      <a:pt x="0" y="62"/>
                      <a:pt x="0" y="78"/>
                      <a:pt x="10" y="88"/>
                    </a:cubicBezTo>
                    <a:cubicBezTo>
                      <a:pt x="62" y="140"/>
                      <a:pt x="62" y="140"/>
                      <a:pt x="62" y="140"/>
                    </a:cubicBezTo>
                    <a:cubicBezTo>
                      <a:pt x="99" y="103"/>
                      <a:pt x="99" y="103"/>
                      <a:pt x="99" y="103"/>
                    </a:cubicBezTo>
                    <a:cubicBezTo>
                      <a:pt x="66" y="70"/>
                      <a:pt x="66" y="70"/>
                      <a:pt x="66" y="70"/>
                    </a:cubicBezTo>
                    <a:cubicBezTo>
                      <a:pt x="99" y="36"/>
                      <a:pt x="99" y="36"/>
                      <a:pt x="99" y="36"/>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8">
                <a:extLst>
                  <a:ext uri="{FF2B5EF4-FFF2-40B4-BE49-F238E27FC236}">
                    <a16:creationId xmlns:a16="http://schemas.microsoft.com/office/drawing/2014/main" id="{5A92F569-3708-DE3D-6FAE-05EAF6FF0F39}"/>
                  </a:ext>
                </a:extLst>
              </p:cNvPr>
              <p:cNvSpPr>
                <a:spLocks/>
              </p:cNvSpPr>
              <p:nvPr/>
            </p:nvSpPr>
            <p:spPr bwMode="auto">
              <a:xfrm>
                <a:off x="8666608" y="2596833"/>
                <a:ext cx="123825" cy="174625"/>
              </a:xfrm>
              <a:custGeom>
                <a:avLst/>
                <a:gdLst>
                  <a:gd name="T0" fmla="*/ 37 w 99"/>
                  <a:gd name="T1" fmla="*/ 0 h 140"/>
                  <a:gd name="T2" fmla="*/ 0 w 99"/>
                  <a:gd name="T3" fmla="*/ 36 h 140"/>
                  <a:gd name="T4" fmla="*/ 34 w 99"/>
                  <a:gd name="T5" fmla="*/ 70 h 140"/>
                  <a:gd name="T6" fmla="*/ 0 w 99"/>
                  <a:gd name="T7" fmla="*/ 103 h 140"/>
                  <a:gd name="T8" fmla="*/ 37 w 99"/>
                  <a:gd name="T9" fmla="*/ 140 h 140"/>
                  <a:gd name="T10" fmla="*/ 89 w 99"/>
                  <a:gd name="T11" fmla="*/ 88 h 140"/>
                  <a:gd name="T12" fmla="*/ 89 w 99"/>
                  <a:gd name="T13" fmla="*/ 52 h 140"/>
                  <a:gd name="T14" fmla="*/ 37 w 99"/>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40">
                    <a:moveTo>
                      <a:pt x="37" y="0"/>
                    </a:moveTo>
                    <a:cubicBezTo>
                      <a:pt x="0" y="36"/>
                      <a:pt x="0" y="36"/>
                      <a:pt x="0" y="36"/>
                    </a:cubicBezTo>
                    <a:cubicBezTo>
                      <a:pt x="34" y="70"/>
                      <a:pt x="34" y="70"/>
                      <a:pt x="34" y="70"/>
                    </a:cubicBezTo>
                    <a:cubicBezTo>
                      <a:pt x="0" y="103"/>
                      <a:pt x="0" y="103"/>
                      <a:pt x="0" y="103"/>
                    </a:cubicBezTo>
                    <a:cubicBezTo>
                      <a:pt x="37" y="140"/>
                      <a:pt x="37" y="140"/>
                      <a:pt x="37" y="140"/>
                    </a:cubicBezTo>
                    <a:cubicBezTo>
                      <a:pt x="89" y="88"/>
                      <a:pt x="89" y="88"/>
                      <a:pt x="89" y="88"/>
                    </a:cubicBezTo>
                    <a:cubicBezTo>
                      <a:pt x="99" y="78"/>
                      <a:pt x="99" y="62"/>
                      <a:pt x="89" y="52"/>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9">
                <a:extLst>
                  <a:ext uri="{FF2B5EF4-FFF2-40B4-BE49-F238E27FC236}">
                    <a16:creationId xmlns:a16="http://schemas.microsoft.com/office/drawing/2014/main" id="{894A17EF-4F7E-23F2-C292-EC8C1A990ADC}"/>
                  </a:ext>
                </a:extLst>
              </p:cNvPr>
              <p:cNvSpPr>
                <a:spLocks/>
              </p:cNvSpPr>
              <p:nvPr/>
            </p:nvSpPr>
            <p:spPr bwMode="auto">
              <a:xfrm>
                <a:off x="8496746" y="2576195"/>
                <a:ext cx="127000" cy="214313"/>
              </a:xfrm>
              <a:custGeom>
                <a:avLst/>
                <a:gdLst>
                  <a:gd name="T0" fmla="*/ 0 w 80"/>
                  <a:gd name="T1" fmla="*/ 123 h 135"/>
                  <a:gd name="T2" fmla="*/ 41 w 80"/>
                  <a:gd name="T3" fmla="*/ 0 h 135"/>
                  <a:gd name="T4" fmla="*/ 80 w 80"/>
                  <a:gd name="T5" fmla="*/ 13 h 135"/>
                  <a:gd name="T6" fmla="*/ 39 w 80"/>
                  <a:gd name="T7" fmla="*/ 135 h 135"/>
                  <a:gd name="T8" fmla="*/ 0 w 80"/>
                  <a:gd name="T9" fmla="*/ 123 h 135"/>
                </a:gdLst>
                <a:ahLst/>
                <a:cxnLst>
                  <a:cxn ang="0">
                    <a:pos x="T0" y="T1"/>
                  </a:cxn>
                  <a:cxn ang="0">
                    <a:pos x="T2" y="T3"/>
                  </a:cxn>
                  <a:cxn ang="0">
                    <a:pos x="T4" y="T5"/>
                  </a:cxn>
                  <a:cxn ang="0">
                    <a:pos x="T6" y="T7"/>
                  </a:cxn>
                  <a:cxn ang="0">
                    <a:pos x="T8" y="T9"/>
                  </a:cxn>
                </a:cxnLst>
                <a:rect l="0" t="0" r="r" b="b"/>
                <a:pathLst>
                  <a:path w="80" h="135">
                    <a:moveTo>
                      <a:pt x="0" y="123"/>
                    </a:moveTo>
                    <a:lnTo>
                      <a:pt x="41" y="0"/>
                    </a:lnTo>
                    <a:lnTo>
                      <a:pt x="80" y="13"/>
                    </a:lnTo>
                    <a:lnTo>
                      <a:pt x="39" y="135"/>
                    </a:lnTo>
                    <a:lnTo>
                      <a:pt x="0"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0">
                <a:extLst>
                  <a:ext uri="{FF2B5EF4-FFF2-40B4-BE49-F238E27FC236}">
                    <a16:creationId xmlns:a16="http://schemas.microsoft.com/office/drawing/2014/main" id="{2A484F08-B9A1-82F2-A4E9-22091B10C8FF}"/>
                  </a:ext>
                </a:extLst>
              </p:cNvPr>
              <p:cNvSpPr>
                <a:spLocks noEditPoints="1"/>
              </p:cNvSpPr>
              <p:nvPr/>
            </p:nvSpPr>
            <p:spPr bwMode="auto">
              <a:xfrm>
                <a:off x="8980933" y="2133283"/>
                <a:ext cx="1165225" cy="712788"/>
              </a:xfrm>
              <a:custGeom>
                <a:avLst/>
                <a:gdLst>
                  <a:gd name="T0" fmla="*/ 909 w 935"/>
                  <a:gd name="T1" fmla="*/ 0 h 572"/>
                  <a:gd name="T2" fmla="*/ 26 w 935"/>
                  <a:gd name="T3" fmla="*/ 0 h 572"/>
                  <a:gd name="T4" fmla="*/ 0 w 935"/>
                  <a:gd name="T5" fmla="*/ 26 h 572"/>
                  <a:gd name="T6" fmla="*/ 0 w 935"/>
                  <a:gd name="T7" fmla="*/ 546 h 572"/>
                  <a:gd name="T8" fmla="*/ 26 w 935"/>
                  <a:gd name="T9" fmla="*/ 572 h 572"/>
                  <a:gd name="T10" fmla="*/ 909 w 935"/>
                  <a:gd name="T11" fmla="*/ 572 h 572"/>
                  <a:gd name="T12" fmla="*/ 935 w 935"/>
                  <a:gd name="T13" fmla="*/ 546 h 572"/>
                  <a:gd name="T14" fmla="*/ 935 w 935"/>
                  <a:gd name="T15" fmla="*/ 26 h 572"/>
                  <a:gd name="T16" fmla="*/ 909 w 935"/>
                  <a:gd name="T17" fmla="*/ 0 h 572"/>
                  <a:gd name="T18" fmla="*/ 883 w 935"/>
                  <a:gd name="T19" fmla="*/ 520 h 572"/>
                  <a:gd name="T20" fmla="*/ 52 w 935"/>
                  <a:gd name="T21" fmla="*/ 520 h 572"/>
                  <a:gd name="T22" fmla="*/ 52 w 935"/>
                  <a:gd name="T23" fmla="*/ 457 h 572"/>
                  <a:gd name="T24" fmla="*/ 285 w 935"/>
                  <a:gd name="T25" fmla="*/ 317 h 572"/>
                  <a:gd name="T26" fmla="*/ 513 w 935"/>
                  <a:gd name="T27" fmla="*/ 464 h 572"/>
                  <a:gd name="T28" fmla="*/ 539 w 935"/>
                  <a:gd name="T29" fmla="*/ 465 h 572"/>
                  <a:gd name="T30" fmla="*/ 727 w 935"/>
                  <a:gd name="T31" fmla="*/ 368 h 572"/>
                  <a:gd name="T32" fmla="*/ 883 w 935"/>
                  <a:gd name="T33" fmla="*/ 457 h 572"/>
                  <a:gd name="T34" fmla="*/ 883 w 935"/>
                  <a:gd name="T35" fmla="*/ 520 h 572"/>
                  <a:gd name="T36" fmla="*/ 883 w 935"/>
                  <a:gd name="T37" fmla="*/ 397 h 572"/>
                  <a:gd name="T38" fmla="*/ 740 w 935"/>
                  <a:gd name="T39" fmla="*/ 315 h 572"/>
                  <a:gd name="T40" fmla="*/ 715 w 935"/>
                  <a:gd name="T41" fmla="*/ 315 h 572"/>
                  <a:gd name="T42" fmla="*/ 528 w 935"/>
                  <a:gd name="T43" fmla="*/ 412 h 572"/>
                  <a:gd name="T44" fmla="*/ 300 w 935"/>
                  <a:gd name="T45" fmla="*/ 264 h 572"/>
                  <a:gd name="T46" fmla="*/ 273 w 935"/>
                  <a:gd name="T47" fmla="*/ 264 h 572"/>
                  <a:gd name="T48" fmla="*/ 52 w 935"/>
                  <a:gd name="T49" fmla="*/ 396 h 572"/>
                  <a:gd name="T50" fmla="*/ 52 w 935"/>
                  <a:gd name="T51" fmla="*/ 52 h 572"/>
                  <a:gd name="T52" fmla="*/ 883 w 935"/>
                  <a:gd name="T53" fmla="*/ 52 h 572"/>
                  <a:gd name="T54" fmla="*/ 883 w 935"/>
                  <a:gd name="T55" fmla="*/ 39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5" h="572">
                    <a:moveTo>
                      <a:pt x="909" y="0"/>
                    </a:moveTo>
                    <a:cubicBezTo>
                      <a:pt x="26" y="0"/>
                      <a:pt x="26" y="0"/>
                      <a:pt x="26" y="0"/>
                    </a:cubicBezTo>
                    <a:cubicBezTo>
                      <a:pt x="12" y="0"/>
                      <a:pt x="0" y="12"/>
                      <a:pt x="0" y="26"/>
                    </a:cubicBezTo>
                    <a:cubicBezTo>
                      <a:pt x="0" y="546"/>
                      <a:pt x="0" y="546"/>
                      <a:pt x="0" y="546"/>
                    </a:cubicBezTo>
                    <a:cubicBezTo>
                      <a:pt x="0" y="560"/>
                      <a:pt x="12" y="572"/>
                      <a:pt x="26" y="572"/>
                    </a:cubicBezTo>
                    <a:cubicBezTo>
                      <a:pt x="909" y="572"/>
                      <a:pt x="909" y="572"/>
                      <a:pt x="909" y="572"/>
                    </a:cubicBezTo>
                    <a:cubicBezTo>
                      <a:pt x="923" y="572"/>
                      <a:pt x="935" y="560"/>
                      <a:pt x="935" y="546"/>
                    </a:cubicBezTo>
                    <a:cubicBezTo>
                      <a:pt x="935" y="26"/>
                      <a:pt x="935" y="26"/>
                      <a:pt x="935" y="26"/>
                    </a:cubicBezTo>
                    <a:cubicBezTo>
                      <a:pt x="935" y="12"/>
                      <a:pt x="923" y="0"/>
                      <a:pt x="909" y="0"/>
                    </a:cubicBezTo>
                    <a:close/>
                    <a:moveTo>
                      <a:pt x="883" y="520"/>
                    </a:moveTo>
                    <a:cubicBezTo>
                      <a:pt x="52" y="520"/>
                      <a:pt x="52" y="520"/>
                      <a:pt x="52" y="520"/>
                    </a:cubicBezTo>
                    <a:cubicBezTo>
                      <a:pt x="52" y="457"/>
                      <a:pt x="52" y="457"/>
                      <a:pt x="52" y="457"/>
                    </a:cubicBezTo>
                    <a:cubicBezTo>
                      <a:pt x="285" y="317"/>
                      <a:pt x="285" y="317"/>
                      <a:pt x="285" y="317"/>
                    </a:cubicBezTo>
                    <a:cubicBezTo>
                      <a:pt x="513" y="464"/>
                      <a:pt x="513" y="464"/>
                      <a:pt x="513" y="464"/>
                    </a:cubicBezTo>
                    <a:cubicBezTo>
                      <a:pt x="520" y="469"/>
                      <a:pt x="530" y="469"/>
                      <a:pt x="539" y="465"/>
                    </a:cubicBezTo>
                    <a:cubicBezTo>
                      <a:pt x="727" y="368"/>
                      <a:pt x="727" y="368"/>
                      <a:pt x="727" y="368"/>
                    </a:cubicBezTo>
                    <a:cubicBezTo>
                      <a:pt x="883" y="457"/>
                      <a:pt x="883" y="457"/>
                      <a:pt x="883" y="457"/>
                    </a:cubicBezTo>
                    <a:lnTo>
                      <a:pt x="883" y="520"/>
                    </a:lnTo>
                    <a:close/>
                    <a:moveTo>
                      <a:pt x="883" y="397"/>
                    </a:moveTo>
                    <a:cubicBezTo>
                      <a:pt x="740" y="315"/>
                      <a:pt x="740" y="315"/>
                      <a:pt x="740" y="315"/>
                    </a:cubicBezTo>
                    <a:cubicBezTo>
                      <a:pt x="733" y="311"/>
                      <a:pt x="723" y="311"/>
                      <a:pt x="715" y="315"/>
                    </a:cubicBezTo>
                    <a:cubicBezTo>
                      <a:pt x="528" y="412"/>
                      <a:pt x="528" y="412"/>
                      <a:pt x="528" y="412"/>
                    </a:cubicBezTo>
                    <a:cubicBezTo>
                      <a:pt x="300" y="264"/>
                      <a:pt x="300" y="264"/>
                      <a:pt x="300" y="264"/>
                    </a:cubicBezTo>
                    <a:cubicBezTo>
                      <a:pt x="292" y="259"/>
                      <a:pt x="281" y="259"/>
                      <a:pt x="273" y="264"/>
                    </a:cubicBezTo>
                    <a:cubicBezTo>
                      <a:pt x="52" y="396"/>
                      <a:pt x="52" y="396"/>
                      <a:pt x="52" y="396"/>
                    </a:cubicBezTo>
                    <a:cubicBezTo>
                      <a:pt x="52" y="52"/>
                      <a:pt x="52" y="52"/>
                      <a:pt x="52" y="52"/>
                    </a:cubicBezTo>
                    <a:cubicBezTo>
                      <a:pt x="883" y="52"/>
                      <a:pt x="883" y="52"/>
                      <a:pt x="883" y="52"/>
                    </a:cubicBezTo>
                    <a:lnTo>
                      <a:pt x="883"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1">
                <a:extLst>
                  <a:ext uri="{FF2B5EF4-FFF2-40B4-BE49-F238E27FC236}">
                    <a16:creationId xmlns:a16="http://schemas.microsoft.com/office/drawing/2014/main" id="{5A5215F1-4DD9-5F58-F9C6-AF99BE943DCF}"/>
                  </a:ext>
                </a:extLst>
              </p:cNvPr>
              <p:cNvSpPr>
                <a:spLocks noEditPoints="1"/>
              </p:cNvSpPr>
              <p:nvPr/>
            </p:nvSpPr>
            <p:spPr bwMode="auto">
              <a:xfrm>
                <a:off x="9628633" y="2261870"/>
                <a:ext cx="225425" cy="227013"/>
              </a:xfrm>
              <a:custGeom>
                <a:avLst/>
                <a:gdLst>
                  <a:gd name="T0" fmla="*/ 90 w 181"/>
                  <a:gd name="T1" fmla="*/ 182 h 182"/>
                  <a:gd name="T2" fmla="*/ 181 w 181"/>
                  <a:gd name="T3" fmla="*/ 91 h 182"/>
                  <a:gd name="T4" fmla="*/ 90 w 181"/>
                  <a:gd name="T5" fmla="*/ 0 h 182"/>
                  <a:gd name="T6" fmla="*/ 0 w 181"/>
                  <a:gd name="T7" fmla="*/ 91 h 182"/>
                  <a:gd name="T8" fmla="*/ 90 w 181"/>
                  <a:gd name="T9" fmla="*/ 182 h 182"/>
                  <a:gd name="T10" fmla="*/ 90 w 181"/>
                  <a:gd name="T11" fmla="*/ 52 h 182"/>
                  <a:gd name="T12" fmla="*/ 129 w 181"/>
                  <a:gd name="T13" fmla="*/ 91 h 182"/>
                  <a:gd name="T14" fmla="*/ 90 w 181"/>
                  <a:gd name="T15" fmla="*/ 130 h 182"/>
                  <a:gd name="T16" fmla="*/ 51 w 181"/>
                  <a:gd name="T17" fmla="*/ 91 h 182"/>
                  <a:gd name="T18" fmla="*/ 90 w 181"/>
                  <a:gd name="T19" fmla="*/ 5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182">
                    <a:moveTo>
                      <a:pt x="90" y="182"/>
                    </a:moveTo>
                    <a:cubicBezTo>
                      <a:pt x="141" y="182"/>
                      <a:pt x="181" y="141"/>
                      <a:pt x="181" y="91"/>
                    </a:cubicBezTo>
                    <a:cubicBezTo>
                      <a:pt x="181" y="41"/>
                      <a:pt x="141" y="0"/>
                      <a:pt x="90" y="0"/>
                    </a:cubicBezTo>
                    <a:cubicBezTo>
                      <a:pt x="40" y="0"/>
                      <a:pt x="0" y="41"/>
                      <a:pt x="0" y="91"/>
                    </a:cubicBezTo>
                    <a:cubicBezTo>
                      <a:pt x="0" y="141"/>
                      <a:pt x="40" y="182"/>
                      <a:pt x="90" y="182"/>
                    </a:cubicBezTo>
                    <a:close/>
                    <a:moveTo>
                      <a:pt x="90" y="52"/>
                    </a:moveTo>
                    <a:cubicBezTo>
                      <a:pt x="112" y="52"/>
                      <a:pt x="129" y="70"/>
                      <a:pt x="129" y="91"/>
                    </a:cubicBezTo>
                    <a:cubicBezTo>
                      <a:pt x="129" y="113"/>
                      <a:pt x="112" y="130"/>
                      <a:pt x="90" y="130"/>
                    </a:cubicBezTo>
                    <a:cubicBezTo>
                      <a:pt x="69" y="130"/>
                      <a:pt x="51" y="113"/>
                      <a:pt x="51" y="91"/>
                    </a:cubicBezTo>
                    <a:cubicBezTo>
                      <a:pt x="51" y="70"/>
                      <a:pt x="69" y="52"/>
                      <a:pt x="9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2">
                <a:extLst>
                  <a:ext uri="{FF2B5EF4-FFF2-40B4-BE49-F238E27FC236}">
                    <a16:creationId xmlns:a16="http://schemas.microsoft.com/office/drawing/2014/main" id="{60D7B6AB-E134-EBB4-1499-B58B1DA41019}"/>
                  </a:ext>
                </a:extLst>
              </p:cNvPr>
              <p:cNvSpPr>
                <a:spLocks noEditPoints="1"/>
              </p:cNvSpPr>
              <p:nvPr/>
            </p:nvSpPr>
            <p:spPr bwMode="auto">
              <a:xfrm>
                <a:off x="8336854" y="3033078"/>
                <a:ext cx="873125" cy="596900"/>
              </a:xfrm>
              <a:custGeom>
                <a:avLst/>
                <a:gdLst>
                  <a:gd name="T0" fmla="*/ 0 w 701"/>
                  <a:gd name="T1" fmla="*/ 26 h 479"/>
                  <a:gd name="T2" fmla="*/ 0 w 701"/>
                  <a:gd name="T3" fmla="*/ 454 h 479"/>
                  <a:gd name="T4" fmla="*/ 26 w 701"/>
                  <a:gd name="T5" fmla="*/ 479 h 479"/>
                  <a:gd name="T6" fmla="*/ 675 w 701"/>
                  <a:gd name="T7" fmla="*/ 479 h 479"/>
                  <a:gd name="T8" fmla="*/ 701 w 701"/>
                  <a:gd name="T9" fmla="*/ 454 h 479"/>
                  <a:gd name="T10" fmla="*/ 701 w 701"/>
                  <a:gd name="T11" fmla="*/ 26 h 479"/>
                  <a:gd name="T12" fmla="*/ 675 w 701"/>
                  <a:gd name="T13" fmla="*/ 0 h 479"/>
                  <a:gd name="T14" fmla="*/ 26 w 701"/>
                  <a:gd name="T15" fmla="*/ 0 h 479"/>
                  <a:gd name="T16" fmla="*/ 0 w 701"/>
                  <a:gd name="T17" fmla="*/ 26 h 479"/>
                  <a:gd name="T18" fmla="*/ 52 w 701"/>
                  <a:gd name="T19" fmla="*/ 52 h 479"/>
                  <a:gd name="T20" fmla="*/ 649 w 701"/>
                  <a:gd name="T21" fmla="*/ 52 h 479"/>
                  <a:gd name="T22" fmla="*/ 649 w 701"/>
                  <a:gd name="T23" fmla="*/ 428 h 479"/>
                  <a:gd name="T24" fmla="*/ 52 w 701"/>
                  <a:gd name="T25" fmla="*/ 428 h 479"/>
                  <a:gd name="T26" fmla="*/ 52 w 701"/>
                  <a:gd name="T27" fmla="*/ 5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1" h="479">
                    <a:moveTo>
                      <a:pt x="0" y="26"/>
                    </a:moveTo>
                    <a:cubicBezTo>
                      <a:pt x="0" y="454"/>
                      <a:pt x="0" y="454"/>
                      <a:pt x="0" y="454"/>
                    </a:cubicBezTo>
                    <a:cubicBezTo>
                      <a:pt x="0" y="468"/>
                      <a:pt x="11" y="479"/>
                      <a:pt x="26" y="479"/>
                    </a:cubicBezTo>
                    <a:cubicBezTo>
                      <a:pt x="675" y="479"/>
                      <a:pt x="675" y="479"/>
                      <a:pt x="675" y="479"/>
                    </a:cubicBezTo>
                    <a:cubicBezTo>
                      <a:pt x="689" y="479"/>
                      <a:pt x="701" y="468"/>
                      <a:pt x="701" y="454"/>
                    </a:cubicBezTo>
                    <a:cubicBezTo>
                      <a:pt x="701" y="26"/>
                      <a:pt x="701" y="26"/>
                      <a:pt x="701" y="26"/>
                    </a:cubicBezTo>
                    <a:cubicBezTo>
                      <a:pt x="701" y="11"/>
                      <a:pt x="689" y="0"/>
                      <a:pt x="675" y="0"/>
                    </a:cubicBezTo>
                    <a:cubicBezTo>
                      <a:pt x="26" y="0"/>
                      <a:pt x="26" y="0"/>
                      <a:pt x="26" y="0"/>
                    </a:cubicBezTo>
                    <a:cubicBezTo>
                      <a:pt x="11" y="0"/>
                      <a:pt x="0" y="11"/>
                      <a:pt x="0" y="26"/>
                    </a:cubicBezTo>
                    <a:close/>
                    <a:moveTo>
                      <a:pt x="52" y="52"/>
                    </a:moveTo>
                    <a:cubicBezTo>
                      <a:pt x="649" y="52"/>
                      <a:pt x="649" y="52"/>
                      <a:pt x="649" y="52"/>
                    </a:cubicBezTo>
                    <a:cubicBezTo>
                      <a:pt x="649" y="428"/>
                      <a:pt x="649" y="428"/>
                      <a:pt x="649" y="428"/>
                    </a:cubicBezTo>
                    <a:cubicBezTo>
                      <a:pt x="52" y="428"/>
                      <a:pt x="52" y="428"/>
                      <a:pt x="52" y="428"/>
                    </a:cubicBez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3">
                <a:extLst>
                  <a:ext uri="{FF2B5EF4-FFF2-40B4-BE49-F238E27FC236}">
                    <a16:creationId xmlns:a16="http://schemas.microsoft.com/office/drawing/2014/main" id="{ADF820F5-8464-2C04-3C84-BE90CBE329B3}"/>
                  </a:ext>
                </a:extLst>
              </p:cNvPr>
              <p:cNvSpPr>
                <a:spLocks noChangeArrowheads="1"/>
              </p:cNvSpPr>
              <p:nvPr/>
            </p:nvSpPr>
            <p:spPr bwMode="auto">
              <a:xfrm>
                <a:off x="8528496" y="2068195"/>
                <a:ext cx="65088"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4">
                <a:extLst>
                  <a:ext uri="{FF2B5EF4-FFF2-40B4-BE49-F238E27FC236}">
                    <a16:creationId xmlns:a16="http://schemas.microsoft.com/office/drawing/2014/main" id="{AFCE552B-4D7A-9BC2-860D-BD19DD94E432}"/>
                  </a:ext>
                </a:extLst>
              </p:cNvPr>
              <p:cNvSpPr>
                <a:spLocks noChangeArrowheads="1"/>
              </p:cNvSpPr>
              <p:nvPr/>
            </p:nvSpPr>
            <p:spPr bwMode="auto">
              <a:xfrm>
                <a:off x="8658671" y="2068195"/>
                <a:ext cx="63500"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5">
                <a:extLst>
                  <a:ext uri="{FF2B5EF4-FFF2-40B4-BE49-F238E27FC236}">
                    <a16:creationId xmlns:a16="http://schemas.microsoft.com/office/drawing/2014/main" id="{F930C3F2-6C05-2DB5-4A91-C82619B09A34}"/>
                  </a:ext>
                </a:extLst>
              </p:cNvPr>
              <p:cNvSpPr>
                <a:spLocks noChangeArrowheads="1"/>
              </p:cNvSpPr>
              <p:nvPr/>
            </p:nvSpPr>
            <p:spPr bwMode="auto">
              <a:xfrm>
                <a:off x="8785671" y="2068195"/>
                <a:ext cx="65088"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16">
                <a:extLst>
                  <a:ext uri="{FF2B5EF4-FFF2-40B4-BE49-F238E27FC236}">
                    <a16:creationId xmlns:a16="http://schemas.microsoft.com/office/drawing/2014/main" id="{C3A909F6-A014-B1F8-60DF-C3891F7C135D}"/>
                  </a:ext>
                </a:extLst>
              </p:cNvPr>
              <p:cNvSpPr>
                <a:spLocks noChangeArrowheads="1"/>
              </p:cNvSpPr>
              <p:nvPr/>
            </p:nvSpPr>
            <p:spPr bwMode="auto">
              <a:xfrm>
                <a:off x="8528496" y="2198370"/>
                <a:ext cx="387350"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7">
                <a:extLst>
                  <a:ext uri="{FF2B5EF4-FFF2-40B4-BE49-F238E27FC236}">
                    <a16:creationId xmlns:a16="http://schemas.microsoft.com/office/drawing/2014/main" id="{EC1DADCD-F79C-0ADA-09C0-6D6091B423E8}"/>
                  </a:ext>
                </a:extLst>
              </p:cNvPr>
              <p:cNvSpPr>
                <a:spLocks noEditPoints="1"/>
              </p:cNvSpPr>
              <p:nvPr/>
            </p:nvSpPr>
            <p:spPr bwMode="auto">
              <a:xfrm>
                <a:off x="9275066" y="3161665"/>
                <a:ext cx="679450" cy="454025"/>
              </a:xfrm>
              <a:custGeom>
                <a:avLst/>
                <a:gdLst>
                  <a:gd name="T0" fmla="*/ 519 w 545"/>
                  <a:gd name="T1" fmla="*/ 0 h 364"/>
                  <a:gd name="T2" fmla="*/ 26 w 545"/>
                  <a:gd name="T3" fmla="*/ 0 h 364"/>
                  <a:gd name="T4" fmla="*/ 0 w 545"/>
                  <a:gd name="T5" fmla="*/ 26 h 364"/>
                  <a:gd name="T6" fmla="*/ 0 w 545"/>
                  <a:gd name="T7" fmla="*/ 338 h 364"/>
                  <a:gd name="T8" fmla="*/ 26 w 545"/>
                  <a:gd name="T9" fmla="*/ 364 h 364"/>
                  <a:gd name="T10" fmla="*/ 519 w 545"/>
                  <a:gd name="T11" fmla="*/ 364 h 364"/>
                  <a:gd name="T12" fmla="*/ 545 w 545"/>
                  <a:gd name="T13" fmla="*/ 338 h 364"/>
                  <a:gd name="T14" fmla="*/ 545 w 545"/>
                  <a:gd name="T15" fmla="*/ 26 h 364"/>
                  <a:gd name="T16" fmla="*/ 519 w 545"/>
                  <a:gd name="T17" fmla="*/ 0 h 364"/>
                  <a:gd name="T18" fmla="*/ 493 w 545"/>
                  <a:gd name="T19" fmla="*/ 312 h 364"/>
                  <a:gd name="T20" fmla="*/ 52 w 545"/>
                  <a:gd name="T21" fmla="*/ 312 h 364"/>
                  <a:gd name="T22" fmla="*/ 52 w 545"/>
                  <a:gd name="T23" fmla="*/ 52 h 364"/>
                  <a:gd name="T24" fmla="*/ 493 w 545"/>
                  <a:gd name="T25" fmla="*/ 52 h 364"/>
                  <a:gd name="T26" fmla="*/ 493 w 545"/>
                  <a:gd name="T27" fmla="*/ 312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5" h="364">
                    <a:moveTo>
                      <a:pt x="519" y="0"/>
                    </a:moveTo>
                    <a:cubicBezTo>
                      <a:pt x="26" y="0"/>
                      <a:pt x="26" y="0"/>
                      <a:pt x="26" y="0"/>
                    </a:cubicBezTo>
                    <a:cubicBezTo>
                      <a:pt x="11" y="0"/>
                      <a:pt x="0" y="12"/>
                      <a:pt x="0" y="26"/>
                    </a:cubicBezTo>
                    <a:cubicBezTo>
                      <a:pt x="0" y="338"/>
                      <a:pt x="0" y="338"/>
                      <a:pt x="0" y="338"/>
                    </a:cubicBezTo>
                    <a:cubicBezTo>
                      <a:pt x="0" y="352"/>
                      <a:pt x="11" y="364"/>
                      <a:pt x="26" y="364"/>
                    </a:cubicBezTo>
                    <a:cubicBezTo>
                      <a:pt x="519" y="364"/>
                      <a:pt x="519" y="364"/>
                      <a:pt x="519" y="364"/>
                    </a:cubicBezTo>
                    <a:cubicBezTo>
                      <a:pt x="533" y="364"/>
                      <a:pt x="545" y="352"/>
                      <a:pt x="545" y="338"/>
                    </a:cubicBezTo>
                    <a:cubicBezTo>
                      <a:pt x="545" y="26"/>
                      <a:pt x="545" y="26"/>
                      <a:pt x="545" y="26"/>
                    </a:cubicBezTo>
                    <a:cubicBezTo>
                      <a:pt x="545" y="12"/>
                      <a:pt x="533" y="0"/>
                      <a:pt x="519" y="0"/>
                    </a:cubicBezTo>
                    <a:close/>
                    <a:moveTo>
                      <a:pt x="493" y="312"/>
                    </a:moveTo>
                    <a:cubicBezTo>
                      <a:pt x="52" y="312"/>
                      <a:pt x="52" y="312"/>
                      <a:pt x="52" y="312"/>
                    </a:cubicBezTo>
                    <a:cubicBezTo>
                      <a:pt x="52" y="52"/>
                      <a:pt x="52" y="52"/>
                      <a:pt x="52" y="52"/>
                    </a:cubicBezTo>
                    <a:cubicBezTo>
                      <a:pt x="493" y="52"/>
                      <a:pt x="493" y="52"/>
                      <a:pt x="493" y="52"/>
                    </a:cubicBezTo>
                    <a:lnTo>
                      <a:pt x="493"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18">
                <a:extLst>
                  <a:ext uri="{FF2B5EF4-FFF2-40B4-BE49-F238E27FC236}">
                    <a16:creationId xmlns:a16="http://schemas.microsoft.com/office/drawing/2014/main" id="{F62BBF0C-9C91-BC8A-FA2A-174D2E34EB71}"/>
                  </a:ext>
                </a:extLst>
              </p:cNvPr>
              <p:cNvSpPr>
                <a:spLocks noChangeArrowheads="1"/>
              </p:cNvSpPr>
              <p:nvPr/>
            </p:nvSpPr>
            <p:spPr bwMode="auto">
              <a:xfrm>
                <a:off x="9405241" y="3291840"/>
                <a:ext cx="63500"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9">
                <a:extLst>
                  <a:ext uri="{FF2B5EF4-FFF2-40B4-BE49-F238E27FC236}">
                    <a16:creationId xmlns:a16="http://schemas.microsoft.com/office/drawing/2014/main" id="{3D011AA1-84A6-F3AA-65CD-6CC2A435711B}"/>
                  </a:ext>
                </a:extLst>
              </p:cNvPr>
              <p:cNvSpPr>
                <a:spLocks noChangeArrowheads="1"/>
              </p:cNvSpPr>
              <p:nvPr/>
            </p:nvSpPr>
            <p:spPr bwMode="auto">
              <a:xfrm>
                <a:off x="9405241" y="3420428"/>
                <a:ext cx="63500"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20">
                <a:extLst>
                  <a:ext uri="{FF2B5EF4-FFF2-40B4-BE49-F238E27FC236}">
                    <a16:creationId xmlns:a16="http://schemas.microsoft.com/office/drawing/2014/main" id="{71182AEB-AC18-FDC9-F327-D1A5CBA5EB83}"/>
                  </a:ext>
                </a:extLst>
              </p:cNvPr>
              <p:cNvSpPr>
                <a:spLocks noChangeArrowheads="1"/>
              </p:cNvSpPr>
              <p:nvPr/>
            </p:nvSpPr>
            <p:spPr bwMode="auto">
              <a:xfrm>
                <a:off x="9532241" y="3291840"/>
                <a:ext cx="292100"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21">
                <a:extLst>
                  <a:ext uri="{FF2B5EF4-FFF2-40B4-BE49-F238E27FC236}">
                    <a16:creationId xmlns:a16="http://schemas.microsoft.com/office/drawing/2014/main" id="{2A532CF1-B2F9-852A-F1FF-4DC404C8697B}"/>
                  </a:ext>
                </a:extLst>
              </p:cNvPr>
              <p:cNvSpPr>
                <a:spLocks noChangeArrowheads="1"/>
              </p:cNvSpPr>
              <p:nvPr/>
            </p:nvSpPr>
            <p:spPr bwMode="auto">
              <a:xfrm>
                <a:off x="9532241" y="3420428"/>
                <a:ext cx="292100"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22">
                <a:extLst>
                  <a:ext uri="{FF2B5EF4-FFF2-40B4-BE49-F238E27FC236}">
                    <a16:creationId xmlns:a16="http://schemas.microsoft.com/office/drawing/2014/main" id="{E72A531D-532B-0625-48AB-C94DC2BB4EF6}"/>
                  </a:ext>
                </a:extLst>
              </p:cNvPr>
              <p:cNvSpPr>
                <a:spLocks noChangeArrowheads="1"/>
              </p:cNvSpPr>
              <p:nvPr/>
            </p:nvSpPr>
            <p:spPr bwMode="auto">
              <a:xfrm>
                <a:off x="9694166" y="2967990"/>
                <a:ext cx="65088"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3">
                <a:extLst>
                  <a:ext uri="{FF2B5EF4-FFF2-40B4-BE49-F238E27FC236}">
                    <a16:creationId xmlns:a16="http://schemas.microsoft.com/office/drawing/2014/main" id="{F3201B75-7B74-FCAB-D8FB-F78B2CB86E76}"/>
                  </a:ext>
                </a:extLst>
              </p:cNvPr>
              <p:cNvSpPr>
                <a:spLocks noEditPoints="1"/>
              </p:cNvSpPr>
              <p:nvPr/>
            </p:nvSpPr>
            <p:spPr bwMode="auto">
              <a:xfrm>
                <a:off x="8681341" y="3215640"/>
                <a:ext cx="215900" cy="217488"/>
              </a:xfrm>
              <a:custGeom>
                <a:avLst/>
                <a:gdLst>
                  <a:gd name="T0" fmla="*/ 8 w 173"/>
                  <a:gd name="T1" fmla="*/ 3 h 175"/>
                  <a:gd name="T2" fmla="*/ 0 w 173"/>
                  <a:gd name="T3" fmla="*/ 18 h 175"/>
                  <a:gd name="T4" fmla="*/ 0 w 173"/>
                  <a:gd name="T5" fmla="*/ 156 h 175"/>
                  <a:gd name="T6" fmla="*/ 8 w 173"/>
                  <a:gd name="T7" fmla="*/ 171 h 175"/>
                  <a:gd name="T8" fmla="*/ 25 w 173"/>
                  <a:gd name="T9" fmla="*/ 172 h 175"/>
                  <a:gd name="T10" fmla="*/ 163 w 173"/>
                  <a:gd name="T11" fmla="*/ 103 h 175"/>
                  <a:gd name="T12" fmla="*/ 173 w 173"/>
                  <a:gd name="T13" fmla="*/ 87 h 175"/>
                  <a:gd name="T14" fmla="*/ 163 w 173"/>
                  <a:gd name="T15" fmla="*/ 72 h 175"/>
                  <a:gd name="T16" fmla="*/ 25 w 173"/>
                  <a:gd name="T17" fmla="*/ 3 h 175"/>
                  <a:gd name="T18" fmla="*/ 8 w 173"/>
                  <a:gd name="T19" fmla="*/ 3 h 175"/>
                  <a:gd name="T20" fmla="*/ 34 w 173"/>
                  <a:gd name="T21" fmla="*/ 46 h 175"/>
                  <a:gd name="T22" fmla="*/ 117 w 173"/>
                  <a:gd name="T23" fmla="*/ 87 h 175"/>
                  <a:gd name="T24" fmla="*/ 34 w 173"/>
                  <a:gd name="T25" fmla="*/ 128 h 175"/>
                  <a:gd name="T26" fmla="*/ 34 w 173"/>
                  <a:gd name="T27" fmla="*/ 4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75">
                    <a:moveTo>
                      <a:pt x="8" y="3"/>
                    </a:moveTo>
                    <a:cubicBezTo>
                      <a:pt x="3" y="7"/>
                      <a:pt x="0" y="12"/>
                      <a:pt x="0" y="18"/>
                    </a:cubicBezTo>
                    <a:cubicBezTo>
                      <a:pt x="0" y="156"/>
                      <a:pt x="0" y="156"/>
                      <a:pt x="0" y="156"/>
                    </a:cubicBezTo>
                    <a:cubicBezTo>
                      <a:pt x="0" y="162"/>
                      <a:pt x="3" y="168"/>
                      <a:pt x="8" y="171"/>
                    </a:cubicBezTo>
                    <a:cubicBezTo>
                      <a:pt x="13" y="174"/>
                      <a:pt x="19" y="175"/>
                      <a:pt x="25" y="172"/>
                    </a:cubicBezTo>
                    <a:cubicBezTo>
                      <a:pt x="163" y="103"/>
                      <a:pt x="163" y="103"/>
                      <a:pt x="163" y="103"/>
                    </a:cubicBezTo>
                    <a:cubicBezTo>
                      <a:pt x="169" y="100"/>
                      <a:pt x="173" y="94"/>
                      <a:pt x="173" y="87"/>
                    </a:cubicBezTo>
                    <a:cubicBezTo>
                      <a:pt x="173" y="81"/>
                      <a:pt x="169" y="75"/>
                      <a:pt x="163" y="72"/>
                    </a:cubicBezTo>
                    <a:cubicBezTo>
                      <a:pt x="25" y="3"/>
                      <a:pt x="25" y="3"/>
                      <a:pt x="25" y="3"/>
                    </a:cubicBezTo>
                    <a:cubicBezTo>
                      <a:pt x="19" y="0"/>
                      <a:pt x="13" y="0"/>
                      <a:pt x="8" y="3"/>
                    </a:cubicBezTo>
                    <a:close/>
                    <a:moveTo>
                      <a:pt x="34" y="46"/>
                    </a:moveTo>
                    <a:cubicBezTo>
                      <a:pt x="117" y="87"/>
                      <a:pt x="117" y="87"/>
                      <a:pt x="117" y="87"/>
                    </a:cubicBezTo>
                    <a:cubicBezTo>
                      <a:pt x="34" y="128"/>
                      <a:pt x="34" y="128"/>
                      <a:pt x="34" y="128"/>
                    </a:cubicBezTo>
                    <a:lnTo>
                      <a:pt x="34"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4">
                <a:extLst>
                  <a:ext uri="{FF2B5EF4-FFF2-40B4-BE49-F238E27FC236}">
                    <a16:creationId xmlns:a16="http://schemas.microsoft.com/office/drawing/2014/main" id="{ED820245-D8E6-8AB6-8E44-2A22E4887CDD}"/>
                  </a:ext>
                </a:extLst>
              </p:cNvPr>
              <p:cNvSpPr>
                <a:spLocks/>
              </p:cNvSpPr>
              <p:nvPr/>
            </p:nvSpPr>
            <p:spPr bwMode="auto">
              <a:xfrm>
                <a:off x="7981951" y="2444750"/>
                <a:ext cx="2322513" cy="1436688"/>
              </a:xfrm>
              <a:custGeom>
                <a:avLst/>
                <a:gdLst>
                  <a:gd name="T0" fmla="*/ 177 w 1864"/>
                  <a:gd name="T1" fmla="*/ 0 h 1154"/>
                  <a:gd name="T2" fmla="*/ 44 w 1864"/>
                  <a:gd name="T3" fmla="*/ 0 h 1154"/>
                  <a:gd name="T4" fmla="*/ 0 w 1864"/>
                  <a:gd name="T5" fmla="*/ 44 h 1154"/>
                  <a:gd name="T6" fmla="*/ 0 w 1864"/>
                  <a:gd name="T7" fmla="*/ 1110 h 1154"/>
                  <a:gd name="T8" fmla="*/ 44 w 1864"/>
                  <a:gd name="T9" fmla="*/ 1154 h 1154"/>
                  <a:gd name="T10" fmla="*/ 1820 w 1864"/>
                  <a:gd name="T11" fmla="*/ 1154 h 1154"/>
                  <a:gd name="T12" fmla="*/ 1864 w 1864"/>
                  <a:gd name="T13" fmla="*/ 1110 h 1154"/>
                  <a:gd name="T14" fmla="*/ 1864 w 1864"/>
                  <a:gd name="T15" fmla="*/ 222 h 1154"/>
                  <a:gd name="T16" fmla="*/ 1820 w 1864"/>
                  <a:gd name="T17" fmla="*/ 178 h 1154"/>
                  <a:gd name="T18" fmla="*/ 1776 w 1864"/>
                  <a:gd name="T19" fmla="*/ 222 h 1154"/>
                  <a:gd name="T20" fmla="*/ 1776 w 1864"/>
                  <a:gd name="T21" fmla="*/ 1066 h 1154"/>
                  <a:gd name="T22" fmla="*/ 88 w 1864"/>
                  <a:gd name="T23" fmla="*/ 1066 h 1154"/>
                  <a:gd name="T24" fmla="*/ 88 w 1864"/>
                  <a:gd name="T25" fmla="*/ 89 h 1154"/>
                  <a:gd name="T26" fmla="*/ 177 w 1864"/>
                  <a:gd name="T27" fmla="*/ 89 h 1154"/>
                  <a:gd name="T28" fmla="*/ 222 w 1864"/>
                  <a:gd name="T29" fmla="*/ 44 h 1154"/>
                  <a:gd name="T30" fmla="*/ 177 w 1864"/>
                  <a:gd name="T31" fmla="*/ 0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4" h="1154">
                    <a:moveTo>
                      <a:pt x="177" y="0"/>
                    </a:moveTo>
                    <a:cubicBezTo>
                      <a:pt x="44" y="0"/>
                      <a:pt x="44" y="0"/>
                      <a:pt x="44" y="0"/>
                    </a:cubicBezTo>
                    <a:cubicBezTo>
                      <a:pt x="19" y="0"/>
                      <a:pt x="0" y="20"/>
                      <a:pt x="0" y="44"/>
                    </a:cubicBezTo>
                    <a:cubicBezTo>
                      <a:pt x="0" y="1110"/>
                      <a:pt x="0" y="1110"/>
                      <a:pt x="0" y="1110"/>
                    </a:cubicBezTo>
                    <a:cubicBezTo>
                      <a:pt x="0" y="1135"/>
                      <a:pt x="19" y="1154"/>
                      <a:pt x="44" y="1154"/>
                    </a:cubicBezTo>
                    <a:cubicBezTo>
                      <a:pt x="1820" y="1154"/>
                      <a:pt x="1820" y="1154"/>
                      <a:pt x="1820" y="1154"/>
                    </a:cubicBezTo>
                    <a:cubicBezTo>
                      <a:pt x="1845" y="1154"/>
                      <a:pt x="1864" y="1135"/>
                      <a:pt x="1864" y="1110"/>
                    </a:cubicBezTo>
                    <a:cubicBezTo>
                      <a:pt x="1864" y="222"/>
                      <a:pt x="1864" y="222"/>
                      <a:pt x="1864" y="222"/>
                    </a:cubicBezTo>
                    <a:cubicBezTo>
                      <a:pt x="1864" y="197"/>
                      <a:pt x="1845" y="178"/>
                      <a:pt x="1820" y="178"/>
                    </a:cubicBezTo>
                    <a:cubicBezTo>
                      <a:pt x="1795" y="178"/>
                      <a:pt x="1776" y="197"/>
                      <a:pt x="1776" y="222"/>
                    </a:cubicBezTo>
                    <a:cubicBezTo>
                      <a:pt x="1776" y="1066"/>
                      <a:pt x="1776" y="1066"/>
                      <a:pt x="1776" y="1066"/>
                    </a:cubicBezTo>
                    <a:cubicBezTo>
                      <a:pt x="88" y="1066"/>
                      <a:pt x="88" y="1066"/>
                      <a:pt x="88" y="1066"/>
                    </a:cubicBezTo>
                    <a:cubicBezTo>
                      <a:pt x="88" y="89"/>
                      <a:pt x="88" y="89"/>
                      <a:pt x="88" y="89"/>
                    </a:cubicBezTo>
                    <a:cubicBezTo>
                      <a:pt x="177" y="89"/>
                      <a:pt x="177" y="89"/>
                      <a:pt x="177" y="89"/>
                    </a:cubicBezTo>
                    <a:cubicBezTo>
                      <a:pt x="202" y="89"/>
                      <a:pt x="222" y="69"/>
                      <a:pt x="222" y="44"/>
                    </a:cubicBezTo>
                    <a:cubicBezTo>
                      <a:pt x="222" y="20"/>
                      <a:pt x="202" y="0"/>
                      <a:pt x="17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5">
                <a:extLst>
                  <a:ext uri="{FF2B5EF4-FFF2-40B4-BE49-F238E27FC236}">
                    <a16:creationId xmlns:a16="http://schemas.microsoft.com/office/drawing/2014/main" id="{ACEEAE6B-EBC9-DCD5-809B-D6458DE4A756}"/>
                  </a:ext>
                </a:extLst>
              </p:cNvPr>
              <p:cNvSpPr>
                <a:spLocks noEditPoints="1"/>
              </p:cNvSpPr>
              <p:nvPr/>
            </p:nvSpPr>
            <p:spPr bwMode="auto">
              <a:xfrm>
                <a:off x="7759701" y="2444750"/>
                <a:ext cx="2765425" cy="2211388"/>
              </a:xfrm>
              <a:custGeom>
                <a:avLst/>
                <a:gdLst>
                  <a:gd name="T0" fmla="*/ 2176 w 2220"/>
                  <a:gd name="T1" fmla="*/ 178 h 1776"/>
                  <a:gd name="T2" fmla="*/ 2131 w 2220"/>
                  <a:gd name="T3" fmla="*/ 222 h 1776"/>
                  <a:gd name="T4" fmla="*/ 2131 w 2220"/>
                  <a:gd name="T5" fmla="*/ 1199 h 1776"/>
                  <a:gd name="T6" fmla="*/ 2087 w 2220"/>
                  <a:gd name="T7" fmla="*/ 1243 h 1776"/>
                  <a:gd name="T8" fmla="*/ 133 w 2220"/>
                  <a:gd name="T9" fmla="*/ 1243 h 1776"/>
                  <a:gd name="T10" fmla="*/ 89 w 2220"/>
                  <a:gd name="T11" fmla="*/ 1199 h 1776"/>
                  <a:gd name="T12" fmla="*/ 89 w 2220"/>
                  <a:gd name="T13" fmla="*/ 44 h 1776"/>
                  <a:gd name="T14" fmla="*/ 44 w 2220"/>
                  <a:gd name="T15" fmla="*/ 0 h 1776"/>
                  <a:gd name="T16" fmla="*/ 0 w 2220"/>
                  <a:gd name="T17" fmla="*/ 44 h 1776"/>
                  <a:gd name="T18" fmla="*/ 0 w 2220"/>
                  <a:gd name="T19" fmla="*/ 1199 h 1776"/>
                  <a:gd name="T20" fmla="*/ 133 w 2220"/>
                  <a:gd name="T21" fmla="*/ 1332 h 1776"/>
                  <a:gd name="T22" fmla="*/ 755 w 2220"/>
                  <a:gd name="T23" fmla="*/ 1332 h 1776"/>
                  <a:gd name="T24" fmla="*/ 755 w 2220"/>
                  <a:gd name="T25" fmla="*/ 1510 h 1776"/>
                  <a:gd name="T26" fmla="*/ 488 w 2220"/>
                  <a:gd name="T27" fmla="*/ 1510 h 1776"/>
                  <a:gd name="T28" fmla="*/ 355 w 2220"/>
                  <a:gd name="T29" fmla="*/ 1643 h 1776"/>
                  <a:gd name="T30" fmla="*/ 488 w 2220"/>
                  <a:gd name="T31" fmla="*/ 1776 h 1776"/>
                  <a:gd name="T32" fmla="*/ 1732 w 2220"/>
                  <a:gd name="T33" fmla="*/ 1776 h 1776"/>
                  <a:gd name="T34" fmla="*/ 1776 w 2220"/>
                  <a:gd name="T35" fmla="*/ 1732 h 1776"/>
                  <a:gd name="T36" fmla="*/ 1732 w 2220"/>
                  <a:gd name="T37" fmla="*/ 1687 h 1776"/>
                  <a:gd name="T38" fmla="*/ 488 w 2220"/>
                  <a:gd name="T39" fmla="*/ 1687 h 1776"/>
                  <a:gd name="T40" fmla="*/ 444 w 2220"/>
                  <a:gd name="T41" fmla="*/ 1643 h 1776"/>
                  <a:gd name="T42" fmla="*/ 488 w 2220"/>
                  <a:gd name="T43" fmla="*/ 1598 h 1776"/>
                  <a:gd name="T44" fmla="*/ 1732 w 2220"/>
                  <a:gd name="T45" fmla="*/ 1598 h 1776"/>
                  <a:gd name="T46" fmla="*/ 1776 w 2220"/>
                  <a:gd name="T47" fmla="*/ 1554 h 1776"/>
                  <a:gd name="T48" fmla="*/ 1732 w 2220"/>
                  <a:gd name="T49" fmla="*/ 1510 h 1776"/>
                  <a:gd name="T50" fmla="*/ 1465 w 2220"/>
                  <a:gd name="T51" fmla="*/ 1510 h 1776"/>
                  <a:gd name="T52" fmla="*/ 1465 w 2220"/>
                  <a:gd name="T53" fmla="*/ 1332 h 1776"/>
                  <a:gd name="T54" fmla="*/ 2087 w 2220"/>
                  <a:gd name="T55" fmla="*/ 1332 h 1776"/>
                  <a:gd name="T56" fmla="*/ 2220 w 2220"/>
                  <a:gd name="T57" fmla="*/ 1199 h 1776"/>
                  <a:gd name="T58" fmla="*/ 2220 w 2220"/>
                  <a:gd name="T59" fmla="*/ 222 h 1776"/>
                  <a:gd name="T60" fmla="*/ 2176 w 2220"/>
                  <a:gd name="T61" fmla="*/ 178 h 1776"/>
                  <a:gd name="T62" fmla="*/ 1376 w 2220"/>
                  <a:gd name="T63" fmla="*/ 1510 h 1776"/>
                  <a:gd name="T64" fmla="*/ 844 w 2220"/>
                  <a:gd name="T65" fmla="*/ 1510 h 1776"/>
                  <a:gd name="T66" fmla="*/ 844 w 2220"/>
                  <a:gd name="T67" fmla="*/ 1332 h 1776"/>
                  <a:gd name="T68" fmla="*/ 1376 w 2220"/>
                  <a:gd name="T69" fmla="*/ 1332 h 1776"/>
                  <a:gd name="T70" fmla="*/ 1376 w 2220"/>
                  <a:gd name="T71" fmla="*/ 1510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20" h="1776">
                    <a:moveTo>
                      <a:pt x="2176" y="178"/>
                    </a:moveTo>
                    <a:cubicBezTo>
                      <a:pt x="2151" y="178"/>
                      <a:pt x="2131" y="197"/>
                      <a:pt x="2131" y="222"/>
                    </a:cubicBezTo>
                    <a:cubicBezTo>
                      <a:pt x="2131" y="1199"/>
                      <a:pt x="2131" y="1199"/>
                      <a:pt x="2131" y="1199"/>
                    </a:cubicBezTo>
                    <a:cubicBezTo>
                      <a:pt x="2131" y="1223"/>
                      <a:pt x="2111" y="1243"/>
                      <a:pt x="2087" y="1243"/>
                    </a:cubicBezTo>
                    <a:cubicBezTo>
                      <a:pt x="133" y="1243"/>
                      <a:pt x="133" y="1243"/>
                      <a:pt x="133" y="1243"/>
                    </a:cubicBezTo>
                    <a:cubicBezTo>
                      <a:pt x="109" y="1243"/>
                      <a:pt x="89" y="1223"/>
                      <a:pt x="89" y="1199"/>
                    </a:cubicBezTo>
                    <a:cubicBezTo>
                      <a:pt x="89" y="44"/>
                      <a:pt x="89" y="44"/>
                      <a:pt x="89" y="44"/>
                    </a:cubicBezTo>
                    <a:cubicBezTo>
                      <a:pt x="89" y="20"/>
                      <a:pt x="69" y="0"/>
                      <a:pt x="44" y="0"/>
                    </a:cubicBezTo>
                    <a:cubicBezTo>
                      <a:pt x="20" y="0"/>
                      <a:pt x="0" y="20"/>
                      <a:pt x="0" y="44"/>
                    </a:cubicBezTo>
                    <a:cubicBezTo>
                      <a:pt x="0" y="1199"/>
                      <a:pt x="0" y="1199"/>
                      <a:pt x="0" y="1199"/>
                    </a:cubicBezTo>
                    <a:cubicBezTo>
                      <a:pt x="0" y="1272"/>
                      <a:pt x="60" y="1332"/>
                      <a:pt x="133" y="1332"/>
                    </a:cubicBezTo>
                    <a:cubicBezTo>
                      <a:pt x="755" y="1332"/>
                      <a:pt x="755" y="1332"/>
                      <a:pt x="755" y="1332"/>
                    </a:cubicBezTo>
                    <a:cubicBezTo>
                      <a:pt x="755" y="1510"/>
                      <a:pt x="755" y="1510"/>
                      <a:pt x="755" y="1510"/>
                    </a:cubicBezTo>
                    <a:cubicBezTo>
                      <a:pt x="488" y="1510"/>
                      <a:pt x="488" y="1510"/>
                      <a:pt x="488" y="1510"/>
                    </a:cubicBezTo>
                    <a:cubicBezTo>
                      <a:pt x="415" y="1510"/>
                      <a:pt x="355" y="1569"/>
                      <a:pt x="355" y="1643"/>
                    </a:cubicBezTo>
                    <a:cubicBezTo>
                      <a:pt x="355" y="1716"/>
                      <a:pt x="415" y="1776"/>
                      <a:pt x="488" y="1776"/>
                    </a:cubicBezTo>
                    <a:cubicBezTo>
                      <a:pt x="1732" y="1776"/>
                      <a:pt x="1732" y="1776"/>
                      <a:pt x="1732" y="1776"/>
                    </a:cubicBezTo>
                    <a:cubicBezTo>
                      <a:pt x="1756" y="1776"/>
                      <a:pt x="1776" y="1756"/>
                      <a:pt x="1776" y="1732"/>
                    </a:cubicBezTo>
                    <a:cubicBezTo>
                      <a:pt x="1776" y="1707"/>
                      <a:pt x="1756" y="1687"/>
                      <a:pt x="1732" y="1687"/>
                    </a:cubicBezTo>
                    <a:cubicBezTo>
                      <a:pt x="488" y="1687"/>
                      <a:pt x="488" y="1687"/>
                      <a:pt x="488" y="1687"/>
                    </a:cubicBezTo>
                    <a:cubicBezTo>
                      <a:pt x="464" y="1687"/>
                      <a:pt x="444" y="1667"/>
                      <a:pt x="444" y="1643"/>
                    </a:cubicBezTo>
                    <a:cubicBezTo>
                      <a:pt x="444" y="1618"/>
                      <a:pt x="464" y="1598"/>
                      <a:pt x="488" y="1598"/>
                    </a:cubicBezTo>
                    <a:cubicBezTo>
                      <a:pt x="1732" y="1598"/>
                      <a:pt x="1732" y="1598"/>
                      <a:pt x="1732" y="1598"/>
                    </a:cubicBezTo>
                    <a:cubicBezTo>
                      <a:pt x="1756" y="1598"/>
                      <a:pt x="1776" y="1579"/>
                      <a:pt x="1776" y="1554"/>
                    </a:cubicBezTo>
                    <a:cubicBezTo>
                      <a:pt x="1776" y="1529"/>
                      <a:pt x="1756" y="1510"/>
                      <a:pt x="1732" y="1510"/>
                    </a:cubicBezTo>
                    <a:cubicBezTo>
                      <a:pt x="1465" y="1510"/>
                      <a:pt x="1465" y="1510"/>
                      <a:pt x="1465" y="1510"/>
                    </a:cubicBezTo>
                    <a:cubicBezTo>
                      <a:pt x="1465" y="1332"/>
                      <a:pt x="1465" y="1332"/>
                      <a:pt x="1465" y="1332"/>
                    </a:cubicBezTo>
                    <a:cubicBezTo>
                      <a:pt x="2087" y="1332"/>
                      <a:pt x="2087" y="1332"/>
                      <a:pt x="2087" y="1332"/>
                    </a:cubicBezTo>
                    <a:cubicBezTo>
                      <a:pt x="2160" y="1332"/>
                      <a:pt x="2220" y="1272"/>
                      <a:pt x="2220" y="1199"/>
                    </a:cubicBezTo>
                    <a:cubicBezTo>
                      <a:pt x="2220" y="222"/>
                      <a:pt x="2220" y="222"/>
                      <a:pt x="2220" y="222"/>
                    </a:cubicBezTo>
                    <a:cubicBezTo>
                      <a:pt x="2220" y="197"/>
                      <a:pt x="2200" y="178"/>
                      <a:pt x="2176" y="178"/>
                    </a:cubicBezTo>
                    <a:close/>
                    <a:moveTo>
                      <a:pt x="1376" y="1510"/>
                    </a:moveTo>
                    <a:cubicBezTo>
                      <a:pt x="844" y="1510"/>
                      <a:pt x="844" y="1510"/>
                      <a:pt x="844" y="1510"/>
                    </a:cubicBezTo>
                    <a:cubicBezTo>
                      <a:pt x="844" y="1332"/>
                      <a:pt x="844" y="1332"/>
                      <a:pt x="844" y="1332"/>
                    </a:cubicBezTo>
                    <a:cubicBezTo>
                      <a:pt x="1376" y="1332"/>
                      <a:pt x="1376" y="1332"/>
                      <a:pt x="1376" y="1332"/>
                    </a:cubicBezTo>
                    <a:lnTo>
                      <a:pt x="1376" y="1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71576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4F777-7A13-0421-6CD1-A717725934EA}"/>
            </a:ext>
          </a:extLst>
        </p:cNvPr>
        <p:cNvGrpSpPr/>
        <p:nvPr/>
      </p:nvGrpSpPr>
      <p:grpSpPr>
        <a:xfrm>
          <a:off x="0" y="0"/>
          <a:ext cx="0" cy="0"/>
          <a:chOff x="0" y="0"/>
          <a:chExt cx="0" cy="0"/>
        </a:xfrm>
      </p:grpSpPr>
      <p:sp>
        <p:nvSpPr>
          <p:cNvPr id="9" name="Rounded Rectangle 130">
            <a:extLst>
              <a:ext uri="{FF2B5EF4-FFF2-40B4-BE49-F238E27FC236}">
                <a16:creationId xmlns:a16="http://schemas.microsoft.com/office/drawing/2014/main" id="{3E3A3363-7ED0-B3FC-C504-3AB2CA800EC6}"/>
              </a:ext>
            </a:extLst>
          </p:cNvPr>
          <p:cNvSpPr/>
          <p:nvPr/>
        </p:nvSpPr>
        <p:spPr>
          <a:xfrm>
            <a:off x="6243629" y="1822514"/>
            <a:ext cx="2312907" cy="3900341"/>
          </a:xfrm>
          <a:prstGeom prst="roundRect">
            <a:avLst>
              <a:gd name="adj" fmla="val 556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 name="Rounded Rectangle 38">
            <a:extLst>
              <a:ext uri="{FF2B5EF4-FFF2-40B4-BE49-F238E27FC236}">
                <a16:creationId xmlns:a16="http://schemas.microsoft.com/office/drawing/2014/main" id="{42C4AFC0-3B3D-9BF2-E4BF-E3B8B3BCF9D5}"/>
              </a:ext>
            </a:extLst>
          </p:cNvPr>
          <p:cNvSpPr/>
          <p:nvPr/>
        </p:nvSpPr>
        <p:spPr>
          <a:xfrm>
            <a:off x="1097083" y="1822514"/>
            <a:ext cx="2312907" cy="3900341"/>
          </a:xfrm>
          <a:prstGeom prst="roundRect">
            <a:avLst>
              <a:gd name="adj" fmla="val 556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5" name="Inhaltsplatzhalter 4">
            <a:extLst>
              <a:ext uri="{FF2B5EF4-FFF2-40B4-BE49-F238E27FC236}">
                <a16:creationId xmlns:a16="http://schemas.microsoft.com/office/drawing/2014/main" id="{17E36466-5836-1FFB-6E70-60B2926196A6}"/>
              </a:ext>
            </a:extLst>
          </p:cNvPr>
          <p:cNvSpPr txBox="1">
            <a:spLocks/>
          </p:cNvSpPr>
          <p:nvPr/>
        </p:nvSpPr>
        <p:spPr>
          <a:xfrm>
            <a:off x="1096136" y="2080668"/>
            <a:ext cx="2314800" cy="565146"/>
          </a:xfrm>
          <a:prstGeom prst="rect">
            <a:avLst/>
          </a:prstGeom>
        </p:spPr>
        <p:txBody>
          <a:bodyPr wrap="square" lIns="36000" tIns="36000" rIns="36000" bIns="3600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Arial Black"/>
                <a:ea typeface="+mn-ea"/>
                <a:cs typeface="+mn-cs"/>
              </a:rPr>
              <a:t>FRICTIONLESS CONNECTIVITY</a:t>
            </a:r>
            <a:endParaRPr kumimoji="0"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6" name="Inhaltsplatzhalter 4">
            <a:extLst>
              <a:ext uri="{FF2B5EF4-FFF2-40B4-BE49-F238E27FC236}">
                <a16:creationId xmlns:a16="http://schemas.microsoft.com/office/drawing/2014/main" id="{4D05224D-C752-AE3D-A8F2-248E08955356}"/>
              </a:ext>
            </a:extLst>
          </p:cNvPr>
          <p:cNvSpPr txBox="1">
            <a:spLocks/>
          </p:cNvSpPr>
          <p:nvPr/>
        </p:nvSpPr>
        <p:spPr>
          <a:xfrm>
            <a:off x="1096136" y="4497655"/>
            <a:ext cx="2314800" cy="1154606"/>
          </a:xfrm>
          <a:prstGeom prst="rect">
            <a:avLst/>
          </a:prstGeom>
        </p:spPr>
        <p:txBody>
          <a:bodyPr wrap="square" lIns="36000" tIns="36000" rIns="3600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From days to hours</a:t>
            </a:r>
          </a:p>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Cybersecure  </a:t>
            </a:r>
          </a:p>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No reprogramming in </a:t>
            </a:r>
            <a:br>
              <a:rPr kumimoji="0" lang="en-US" sz="1400" b="0" i="0" u="none" strike="noStrike" kern="1200" cap="none" spc="0" normalizeH="0" baseline="0" noProof="0">
                <a:ln>
                  <a:noFill/>
                </a:ln>
                <a:solidFill>
                  <a:prstClr val="white"/>
                </a:solidFill>
                <a:effectLst/>
                <a:uLnTx/>
                <a:uFillTx/>
                <a:latin typeface="+mn-lt"/>
                <a:ea typeface="+mn-ea"/>
                <a:cs typeface="+mn-cs"/>
              </a:rPr>
            </a:br>
            <a:r>
              <a:rPr kumimoji="0" lang="en-US" sz="1400" b="0" i="0" u="none" strike="noStrike" kern="1200" cap="none" spc="0" normalizeH="0" baseline="0" noProof="0">
                <a:ln>
                  <a:noFill/>
                </a:ln>
                <a:solidFill>
                  <a:prstClr val="white"/>
                </a:solidFill>
                <a:effectLst/>
                <a:uLnTx/>
                <a:uFillTx/>
                <a:latin typeface="+mn-lt"/>
                <a:ea typeface="+mn-ea"/>
                <a:cs typeface="+mn-cs"/>
              </a:rPr>
              <a:t>the field</a:t>
            </a:r>
          </a:p>
        </p:txBody>
      </p:sp>
      <p:sp>
        <p:nvSpPr>
          <p:cNvPr id="10" name="Inhaltsplatzhalter 4">
            <a:extLst>
              <a:ext uri="{FF2B5EF4-FFF2-40B4-BE49-F238E27FC236}">
                <a16:creationId xmlns:a16="http://schemas.microsoft.com/office/drawing/2014/main" id="{ECCACA41-8903-7F29-4305-F65D627A85A8}"/>
              </a:ext>
            </a:extLst>
          </p:cNvPr>
          <p:cNvSpPr txBox="1">
            <a:spLocks/>
          </p:cNvSpPr>
          <p:nvPr/>
        </p:nvSpPr>
        <p:spPr>
          <a:xfrm>
            <a:off x="6242682" y="2080668"/>
            <a:ext cx="2314800" cy="565146"/>
          </a:xfrm>
          <a:prstGeom prst="rect">
            <a:avLst/>
          </a:prstGeom>
        </p:spPr>
        <p:txBody>
          <a:bodyPr wrap="square" lIns="36000" tIns="36000" rIns="36000" bIns="3600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Arial Black"/>
                <a:ea typeface="+mn-ea"/>
                <a:cs typeface="+mn-cs"/>
              </a:rPr>
              <a:t>100% </a:t>
            </a:r>
            <a:br>
              <a:rPr kumimoji="0" lang="en-US" sz="1600" b="1" i="0" u="none" strike="noStrike" kern="1200" cap="none" spc="0" normalizeH="0" baseline="0" noProof="0">
                <a:ln>
                  <a:noFill/>
                </a:ln>
                <a:solidFill>
                  <a:prstClr val="white"/>
                </a:solidFill>
                <a:effectLst/>
                <a:uLnTx/>
                <a:uFillTx/>
                <a:latin typeface="Arial Black"/>
                <a:ea typeface="+mn-ea"/>
                <a:cs typeface="+mn-cs"/>
              </a:rPr>
            </a:br>
            <a:r>
              <a:rPr kumimoji="0" lang="en-US" sz="1600" b="1" i="0" u="none" strike="noStrike" kern="1200" cap="none" spc="0" normalizeH="0" baseline="0" noProof="0">
                <a:ln>
                  <a:noFill/>
                </a:ln>
                <a:solidFill>
                  <a:prstClr val="white"/>
                </a:solidFill>
                <a:effectLst/>
                <a:uLnTx/>
                <a:uFillTx/>
                <a:latin typeface="Arial Black"/>
                <a:ea typeface="+mn-ea"/>
                <a:cs typeface="+mn-cs"/>
              </a:rPr>
              <a:t>SELF SERVICE</a:t>
            </a:r>
          </a:p>
        </p:txBody>
      </p:sp>
      <p:sp>
        <p:nvSpPr>
          <p:cNvPr id="11" name="Inhaltsplatzhalter 4">
            <a:extLst>
              <a:ext uri="{FF2B5EF4-FFF2-40B4-BE49-F238E27FC236}">
                <a16:creationId xmlns:a16="http://schemas.microsoft.com/office/drawing/2014/main" id="{FA3A4D37-3734-845C-CF9E-E18809F8FC34}"/>
              </a:ext>
            </a:extLst>
          </p:cNvPr>
          <p:cNvSpPr txBox="1">
            <a:spLocks/>
          </p:cNvSpPr>
          <p:nvPr/>
        </p:nvSpPr>
        <p:spPr>
          <a:xfrm>
            <a:off x="6242682" y="4497655"/>
            <a:ext cx="2314800" cy="942818"/>
          </a:xfrm>
          <a:prstGeom prst="rect">
            <a:avLst/>
          </a:prstGeom>
        </p:spPr>
        <p:txBody>
          <a:bodyPr wrap="square" lIns="36000" tIns="36000" rIns="3600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100% self serve </a:t>
            </a:r>
            <a:b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b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on-boarding, user management &amp; cockpit </a:t>
            </a:r>
            <a:b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b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view of all sites </a:t>
            </a:r>
            <a:endParaRPr kumimoji="0" lang="en-GB" sz="1400" b="0" i="0" u="none" strike="noStrike" kern="1200" cap="none" spc="0" normalizeH="0" baseline="0" noProof="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endParaRPr>
          </a:p>
        </p:txBody>
      </p:sp>
      <p:sp>
        <p:nvSpPr>
          <p:cNvPr id="33" name="Rounded Rectangle 131">
            <a:extLst>
              <a:ext uri="{FF2B5EF4-FFF2-40B4-BE49-F238E27FC236}">
                <a16:creationId xmlns:a16="http://schemas.microsoft.com/office/drawing/2014/main" id="{C14EA339-B069-BE69-4DBD-D41CF2711FBA}"/>
              </a:ext>
            </a:extLst>
          </p:cNvPr>
          <p:cNvSpPr/>
          <p:nvPr/>
        </p:nvSpPr>
        <p:spPr>
          <a:xfrm>
            <a:off x="8816903" y="1822514"/>
            <a:ext cx="2312907" cy="3900341"/>
          </a:xfrm>
          <a:prstGeom prst="roundRect">
            <a:avLst>
              <a:gd name="adj" fmla="val 556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34" name="Inhaltsplatzhalter 4">
            <a:extLst>
              <a:ext uri="{FF2B5EF4-FFF2-40B4-BE49-F238E27FC236}">
                <a16:creationId xmlns:a16="http://schemas.microsoft.com/office/drawing/2014/main" id="{20389186-1B6D-9F16-BD88-EC72001A434D}"/>
              </a:ext>
            </a:extLst>
          </p:cNvPr>
          <p:cNvSpPr txBox="1">
            <a:spLocks/>
          </p:cNvSpPr>
          <p:nvPr/>
        </p:nvSpPr>
        <p:spPr>
          <a:xfrm>
            <a:off x="8815956" y="1957558"/>
            <a:ext cx="2314800" cy="1057588"/>
          </a:xfrm>
          <a:prstGeom prst="rect">
            <a:avLst/>
          </a:prstGeom>
        </p:spPr>
        <p:txBody>
          <a:bodyPr wrap="square" lIns="36000" tIns="36000" rIns="36000" bIns="3600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Arial Black"/>
                <a:ea typeface="+mn-ea"/>
                <a:cs typeface="+mn-cs"/>
              </a:rPr>
              <a:t> SOFTWARE APPLICATIONS &amp; MANAGED SERVICES </a:t>
            </a:r>
          </a:p>
        </p:txBody>
      </p:sp>
      <p:sp>
        <p:nvSpPr>
          <p:cNvPr id="35" name="Inhaltsplatzhalter 4">
            <a:extLst>
              <a:ext uri="{FF2B5EF4-FFF2-40B4-BE49-F238E27FC236}">
                <a16:creationId xmlns:a16="http://schemas.microsoft.com/office/drawing/2014/main" id="{01CAABD4-93B7-6A50-A191-3BCB171C653E}"/>
              </a:ext>
            </a:extLst>
          </p:cNvPr>
          <p:cNvSpPr txBox="1">
            <a:spLocks/>
          </p:cNvSpPr>
          <p:nvPr/>
        </p:nvSpPr>
        <p:spPr>
          <a:xfrm>
            <a:off x="8815956" y="4497655"/>
            <a:ext cx="2314800" cy="898126"/>
          </a:xfrm>
          <a:prstGeom prst="rect">
            <a:avLst/>
          </a:prstGeom>
        </p:spPr>
        <p:txBody>
          <a:bodyPr wrap="square" lIns="36000" tIns="36000" rIns="3600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Arial "/>
                <a:ea typeface="+mn-ea"/>
                <a:cs typeface="+mn-cs"/>
              </a:rPr>
              <a:t>New tiering of packaged software applications, managed services </a:t>
            </a:r>
            <a:br>
              <a:rPr kumimoji="0" lang="en-US" sz="1400" b="0" i="0" u="none" strike="noStrike" kern="1200" cap="none" spc="0" normalizeH="0" baseline="0" noProof="0">
                <a:ln>
                  <a:noFill/>
                </a:ln>
                <a:solidFill>
                  <a:prstClr val="white"/>
                </a:solidFill>
                <a:effectLst/>
                <a:uLnTx/>
                <a:uFillTx/>
                <a:latin typeface="Arial "/>
                <a:ea typeface="+mn-ea"/>
                <a:cs typeface="+mn-cs"/>
              </a:rPr>
            </a:br>
            <a:r>
              <a:rPr kumimoji="0" lang="en-US" sz="1400" b="0" i="0" u="none" strike="noStrike" kern="1200" cap="none" spc="0" normalizeH="0" baseline="0" noProof="0">
                <a:ln>
                  <a:noFill/>
                </a:ln>
                <a:solidFill>
                  <a:prstClr val="white"/>
                </a:solidFill>
                <a:effectLst/>
                <a:uLnTx/>
                <a:uFillTx/>
                <a:latin typeface="Arial "/>
                <a:ea typeface="+mn-ea"/>
                <a:cs typeface="+mn-cs"/>
              </a:rPr>
              <a:t>aligned to outcomes</a:t>
            </a:r>
          </a:p>
        </p:txBody>
      </p:sp>
      <p:sp>
        <p:nvSpPr>
          <p:cNvPr id="40" name="Rounded Rectangle 129">
            <a:extLst>
              <a:ext uri="{FF2B5EF4-FFF2-40B4-BE49-F238E27FC236}">
                <a16:creationId xmlns:a16="http://schemas.microsoft.com/office/drawing/2014/main" id="{1D851AC0-0298-1DA2-E059-A6BC8658D199}"/>
              </a:ext>
            </a:extLst>
          </p:cNvPr>
          <p:cNvSpPr/>
          <p:nvPr/>
        </p:nvSpPr>
        <p:spPr>
          <a:xfrm>
            <a:off x="3670356" y="1822514"/>
            <a:ext cx="2312907" cy="3900341"/>
          </a:xfrm>
          <a:prstGeom prst="roundRect">
            <a:avLst>
              <a:gd name="adj" fmla="val 556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1" name="Inhaltsplatzhalter 4">
            <a:extLst>
              <a:ext uri="{FF2B5EF4-FFF2-40B4-BE49-F238E27FC236}">
                <a16:creationId xmlns:a16="http://schemas.microsoft.com/office/drawing/2014/main" id="{7C4E8417-A8A6-E6C5-09EB-4DF212A8B897}"/>
              </a:ext>
            </a:extLst>
          </p:cNvPr>
          <p:cNvSpPr txBox="1">
            <a:spLocks/>
          </p:cNvSpPr>
          <p:nvPr/>
        </p:nvSpPr>
        <p:spPr>
          <a:xfrm>
            <a:off x="3669409" y="2080668"/>
            <a:ext cx="2314800" cy="565146"/>
          </a:xfrm>
          <a:prstGeom prst="rect">
            <a:avLst/>
          </a:prstGeom>
        </p:spPr>
        <p:txBody>
          <a:bodyPr wrap="square" lIns="36000" tIns="36000" rIns="36000" bIns="3600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Arial Black"/>
                <a:ea typeface="+mn-ea"/>
                <a:cs typeface="+mn-cs"/>
              </a:rPr>
              <a:t>DIGITAL SERVICES &amp; PORTAL</a:t>
            </a:r>
          </a:p>
        </p:txBody>
      </p:sp>
      <p:sp>
        <p:nvSpPr>
          <p:cNvPr id="42" name="Inhaltsplatzhalter 4">
            <a:extLst>
              <a:ext uri="{FF2B5EF4-FFF2-40B4-BE49-F238E27FC236}">
                <a16:creationId xmlns:a16="http://schemas.microsoft.com/office/drawing/2014/main" id="{2A6826D3-9DD9-1290-F475-3D20F677C484}"/>
              </a:ext>
            </a:extLst>
          </p:cNvPr>
          <p:cNvSpPr txBox="1">
            <a:spLocks/>
          </p:cNvSpPr>
          <p:nvPr/>
        </p:nvSpPr>
        <p:spPr>
          <a:xfrm>
            <a:off x="3669409" y="4497655"/>
            <a:ext cx="2314800" cy="1026366"/>
          </a:xfrm>
          <a:prstGeom prst="rect">
            <a:avLst/>
          </a:prstGeom>
        </p:spPr>
        <p:txBody>
          <a:bodyPr wrap="square" lIns="36000" tIns="36000" rIns="3600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Partner Portal </a:t>
            </a:r>
          </a:p>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solidFill>
                  <a:prstClr val="white"/>
                </a:solidFill>
                <a:effectLst/>
                <a:uLnTx/>
                <a:uFillTx/>
                <a:latin typeface="+mn-lt"/>
                <a:ea typeface="+mn-ea"/>
                <a:cs typeface="+mn-cs"/>
              </a:rPr>
              <a:t>Application packages tailored to customer segment needs </a:t>
            </a:r>
          </a:p>
        </p:txBody>
      </p:sp>
      <p:graphicFrame>
        <p:nvGraphicFramePr>
          <p:cNvPr id="96" name="think-cell data - do not delete" hidden="1">
            <a:extLst>
              <a:ext uri="{FF2B5EF4-FFF2-40B4-BE49-F238E27FC236}">
                <a16:creationId xmlns:a16="http://schemas.microsoft.com/office/drawing/2014/main" id="{91E42E39-7EA4-F325-358E-F714E7A065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6" name="think-cell data - do not delete" hidden="1">
                        <a:extLst>
                          <a:ext uri="{FF2B5EF4-FFF2-40B4-BE49-F238E27FC236}">
                            <a16:creationId xmlns:a16="http://schemas.microsoft.com/office/drawing/2014/main" id="{91E42E39-7EA4-F325-358E-F714E7A065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D20BD9-7DB0-51BB-D407-6F0E30EB073D}"/>
              </a:ext>
            </a:extLst>
          </p:cNvPr>
          <p:cNvSpPr>
            <a:spLocks noGrp="1"/>
          </p:cNvSpPr>
          <p:nvPr>
            <p:ph type="title"/>
          </p:nvPr>
        </p:nvSpPr>
        <p:spPr>
          <a:xfrm>
            <a:off x="557784" y="347472"/>
            <a:ext cx="11594764" cy="402095"/>
          </a:xfrm>
        </p:spPr>
        <p:txBody>
          <a:bodyPr vert="horz"/>
          <a:lstStyle/>
          <a:p>
            <a:r>
              <a:rPr lang="en-US" sz="2800">
                <a:solidFill>
                  <a:schemeClr val="bg1"/>
                </a:solidFill>
              </a:rPr>
              <a:t>transform your service offering while addressing pressing challenges</a:t>
            </a:r>
            <a:r>
              <a:rPr lang="en-US">
                <a:solidFill>
                  <a:schemeClr val="bg1"/>
                </a:solidFill>
              </a:rPr>
              <a:t> </a:t>
            </a:r>
          </a:p>
        </p:txBody>
      </p:sp>
      <p:sp>
        <p:nvSpPr>
          <p:cNvPr id="73" name="Oval 72">
            <a:extLst>
              <a:ext uri="{FF2B5EF4-FFF2-40B4-BE49-F238E27FC236}">
                <a16:creationId xmlns:a16="http://schemas.microsoft.com/office/drawing/2014/main" id="{E2D435EB-7B09-117B-58C9-412B53F66858}"/>
              </a:ext>
            </a:extLst>
          </p:cNvPr>
          <p:cNvSpPr/>
          <p:nvPr/>
        </p:nvSpPr>
        <p:spPr>
          <a:xfrm>
            <a:off x="432560" y="3119631"/>
            <a:ext cx="1284336" cy="1284336"/>
          </a:xfrm>
          <a:prstGeom prst="ellipse">
            <a:avLst/>
          </a:prstGeom>
          <a:solidFill>
            <a:schemeClr val="accent1"/>
          </a:solidFill>
          <a:ln w="28575">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Black"/>
              </a:rPr>
              <a:t>REDUCE COST TO SERVE</a:t>
            </a:r>
          </a:p>
        </p:txBody>
      </p:sp>
      <p:sp>
        <p:nvSpPr>
          <p:cNvPr id="74" name="Oval 73">
            <a:extLst>
              <a:ext uri="{FF2B5EF4-FFF2-40B4-BE49-F238E27FC236}">
                <a16:creationId xmlns:a16="http://schemas.microsoft.com/office/drawing/2014/main" id="{7B4F72E3-BD22-EDAB-0BC9-9DD61C4F556C}"/>
              </a:ext>
            </a:extLst>
          </p:cNvPr>
          <p:cNvSpPr/>
          <p:nvPr/>
        </p:nvSpPr>
        <p:spPr>
          <a:xfrm>
            <a:off x="2889276" y="3119631"/>
            <a:ext cx="1284336" cy="1284336"/>
          </a:xfrm>
          <a:prstGeom prst="ellipse">
            <a:avLst/>
          </a:prstGeom>
          <a:solidFill>
            <a:schemeClr val="accent2"/>
          </a:solidFill>
          <a:ln w="28575">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0" lang="en-US" sz="900" b="1" i="0" u="none" strike="noStrike" kern="1200" cap="none" spc="0" normalizeH="0" baseline="0" noProof="0">
                <a:ln>
                  <a:noFill/>
                </a:ln>
                <a:solidFill>
                  <a:prstClr val="white"/>
                </a:solidFill>
                <a:effectLst/>
                <a:uLnTx/>
                <a:uFillTx/>
                <a:latin typeface="Arial Black"/>
              </a:rPr>
              <a:t>ADDRESS LABOUR SHORTAGES</a:t>
            </a:r>
          </a:p>
        </p:txBody>
      </p:sp>
      <p:sp>
        <p:nvSpPr>
          <p:cNvPr id="75" name="Oval 74">
            <a:extLst>
              <a:ext uri="{FF2B5EF4-FFF2-40B4-BE49-F238E27FC236}">
                <a16:creationId xmlns:a16="http://schemas.microsoft.com/office/drawing/2014/main" id="{BE739CAC-B170-826B-CAEE-A771641C1FB9}"/>
              </a:ext>
            </a:extLst>
          </p:cNvPr>
          <p:cNvSpPr/>
          <p:nvPr/>
        </p:nvSpPr>
        <p:spPr>
          <a:xfrm>
            <a:off x="5461091" y="3119631"/>
            <a:ext cx="1284336" cy="1284336"/>
          </a:xfrm>
          <a:prstGeom prst="ellipse">
            <a:avLst/>
          </a:prstGeom>
          <a:solidFill>
            <a:schemeClr val="accent3"/>
          </a:solidFill>
          <a:ln w="28575">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850">
                <a:latin typeface="Arial Black"/>
              </a:rPr>
              <a:t>INCREMENTAL</a:t>
            </a:r>
            <a:r>
              <a:rPr kumimoji="0" lang="en-US" sz="850">
                <a:latin typeface="Arial Black"/>
              </a:rPr>
              <a:t> GROWTH</a:t>
            </a:r>
            <a:r>
              <a:rPr kumimoji="0" lang="en-US">
                <a:latin typeface="Arial Black"/>
              </a:rPr>
              <a:t> </a:t>
            </a:r>
          </a:p>
        </p:txBody>
      </p:sp>
      <p:sp>
        <p:nvSpPr>
          <p:cNvPr id="76" name="Oval 75">
            <a:extLst>
              <a:ext uri="{FF2B5EF4-FFF2-40B4-BE49-F238E27FC236}">
                <a16:creationId xmlns:a16="http://schemas.microsoft.com/office/drawing/2014/main" id="{4FB26A13-F159-C086-ED39-6D48DF4DE408}"/>
              </a:ext>
            </a:extLst>
          </p:cNvPr>
          <p:cNvSpPr/>
          <p:nvPr/>
        </p:nvSpPr>
        <p:spPr>
          <a:xfrm>
            <a:off x="8032905" y="3119631"/>
            <a:ext cx="1284336" cy="1284336"/>
          </a:xfrm>
          <a:prstGeom prst="ellipse">
            <a:avLst/>
          </a:prstGeom>
          <a:solidFill>
            <a:schemeClr val="accent4"/>
          </a:solidFill>
          <a:ln w="28575">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Black"/>
              </a:rPr>
              <a:t>DIFFERENTIATE</a:t>
            </a:r>
          </a:p>
        </p:txBody>
      </p:sp>
      <p:sp>
        <p:nvSpPr>
          <p:cNvPr id="77" name="Oval 76">
            <a:extLst>
              <a:ext uri="{FF2B5EF4-FFF2-40B4-BE49-F238E27FC236}">
                <a16:creationId xmlns:a16="http://schemas.microsoft.com/office/drawing/2014/main" id="{A663DB35-F05A-38C2-946E-66A4C3CDBB13}"/>
              </a:ext>
            </a:extLst>
          </p:cNvPr>
          <p:cNvSpPr/>
          <p:nvPr/>
        </p:nvSpPr>
        <p:spPr>
          <a:xfrm>
            <a:off x="10475104" y="3119631"/>
            <a:ext cx="1284336" cy="1284336"/>
          </a:xfrm>
          <a:prstGeom prst="ellipse">
            <a:avLst/>
          </a:prstGeom>
          <a:solidFill>
            <a:schemeClr val="accent5"/>
          </a:solidFill>
          <a:ln w="28575">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Black"/>
              </a:rPr>
              <a:t>GROW!</a:t>
            </a:r>
            <a:endParaRPr lang="en-US" sz="900" b="1" i="0" u="none" strike="noStrike" kern="1200" cap="none" spc="0" normalizeH="0" baseline="0" noProof="0">
              <a:ln>
                <a:noFill/>
              </a:ln>
              <a:solidFill>
                <a:prstClr val="white"/>
              </a:solidFill>
              <a:effectLst/>
              <a:uLnTx/>
              <a:uFillTx/>
              <a:latin typeface="Arial Black"/>
            </a:endParaRPr>
          </a:p>
        </p:txBody>
      </p:sp>
      <p:sp>
        <p:nvSpPr>
          <p:cNvPr id="86" name="Isosceles Triangle 85">
            <a:extLst>
              <a:ext uri="{FF2B5EF4-FFF2-40B4-BE49-F238E27FC236}">
                <a16:creationId xmlns:a16="http://schemas.microsoft.com/office/drawing/2014/main" id="{D35AA7DA-9758-993D-F9B6-DE16F48212B9}"/>
              </a:ext>
            </a:extLst>
          </p:cNvPr>
          <p:cNvSpPr/>
          <p:nvPr/>
        </p:nvSpPr>
        <p:spPr>
          <a:xfrm rot="5400000">
            <a:off x="1996546" y="3547151"/>
            <a:ext cx="497983" cy="42929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87" name="Isosceles Triangle 86">
            <a:extLst>
              <a:ext uri="{FF2B5EF4-FFF2-40B4-BE49-F238E27FC236}">
                <a16:creationId xmlns:a16="http://schemas.microsoft.com/office/drawing/2014/main" id="{4848F71D-9E4F-FA1A-6A29-66BE7B25DE2C}"/>
              </a:ext>
            </a:extLst>
          </p:cNvPr>
          <p:cNvSpPr/>
          <p:nvPr/>
        </p:nvSpPr>
        <p:spPr>
          <a:xfrm rot="5400000">
            <a:off x="4570401" y="3547152"/>
            <a:ext cx="497983" cy="42929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88" name="Isosceles Triangle 87">
            <a:extLst>
              <a:ext uri="{FF2B5EF4-FFF2-40B4-BE49-F238E27FC236}">
                <a16:creationId xmlns:a16="http://schemas.microsoft.com/office/drawing/2014/main" id="{29ECFBF0-18DD-53BF-FE6F-AA763E30ABA0}"/>
              </a:ext>
            </a:extLst>
          </p:cNvPr>
          <p:cNvSpPr/>
          <p:nvPr/>
        </p:nvSpPr>
        <p:spPr>
          <a:xfrm rot="5400000">
            <a:off x="7140907" y="3547153"/>
            <a:ext cx="497983" cy="42929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89" name="Isosceles Triangle 88">
            <a:extLst>
              <a:ext uri="{FF2B5EF4-FFF2-40B4-BE49-F238E27FC236}">
                <a16:creationId xmlns:a16="http://schemas.microsoft.com/office/drawing/2014/main" id="{F667F1D7-D028-ED18-745A-0C53605074AB}"/>
              </a:ext>
            </a:extLst>
          </p:cNvPr>
          <p:cNvSpPr/>
          <p:nvPr/>
        </p:nvSpPr>
        <p:spPr>
          <a:xfrm rot="5400000">
            <a:off x="9711257" y="3547155"/>
            <a:ext cx="497983" cy="42929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3" name="Title 1">
            <a:extLst>
              <a:ext uri="{FF2B5EF4-FFF2-40B4-BE49-F238E27FC236}">
                <a16:creationId xmlns:a16="http://schemas.microsoft.com/office/drawing/2014/main" id="{C81B78F1-7317-63C8-AE1A-D704AEC0CE4E}"/>
              </a:ext>
            </a:extLst>
          </p:cNvPr>
          <p:cNvSpPr txBox="1">
            <a:spLocks/>
          </p:cNvSpPr>
          <p:nvPr/>
        </p:nvSpPr>
        <p:spPr>
          <a:xfrm>
            <a:off x="305877" y="333624"/>
            <a:ext cx="11594764" cy="748282"/>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r>
              <a:rPr lang="en-US" sz="2800"/>
              <a:t>transform service offering while addressing pressing challenges</a:t>
            </a:r>
            <a:r>
              <a:rPr lang="en-US"/>
              <a:t> </a:t>
            </a:r>
          </a:p>
        </p:txBody>
      </p:sp>
    </p:spTree>
    <p:extLst>
      <p:ext uri="{BB962C8B-B14F-4D97-AF65-F5344CB8AC3E}">
        <p14:creationId xmlns:p14="http://schemas.microsoft.com/office/powerpoint/2010/main" val="1632827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DE7F95-90BE-9440-8B6C-8E0CC4E31F77}"/>
            </a:ext>
          </a:extLst>
        </p:cNvPr>
        <p:cNvGrpSpPr/>
        <p:nvPr/>
      </p:nvGrpSpPr>
      <p:grpSpPr>
        <a:xfrm>
          <a:off x="0" y="0"/>
          <a:ext cx="0" cy="0"/>
          <a:chOff x="0" y="0"/>
          <a:chExt cx="0" cy="0"/>
        </a:xfrm>
      </p:grpSpPr>
      <p:cxnSp>
        <p:nvCxnSpPr>
          <p:cNvPr id="71" name="Straight Connector 70">
            <a:extLst>
              <a:ext uri="{FF2B5EF4-FFF2-40B4-BE49-F238E27FC236}">
                <a16:creationId xmlns:a16="http://schemas.microsoft.com/office/drawing/2014/main" id="{C0E6FEEF-BB75-9D0A-9614-3821E0F07279}"/>
              </a:ext>
            </a:extLst>
          </p:cNvPr>
          <p:cNvCxnSpPr>
            <a:cxnSpLocks/>
          </p:cNvCxnSpPr>
          <p:nvPr/>
        </p:nvCxnSpPr>
        <p:spPr>
          <a:xfrm flipV="1">
            <a:off x="6237135" y="4671424"/>
            <a:ext cx="0" cy="1505155"/>
          </a:xfrm>
          <a:prstGeom prst="line">
            <a:avLst/>
          </a:prstGeom>
          <a:ln w="12700">
            <a:solidFill>
              <a:schemeClr val="bg1">
                <a:lumMod val="95000"/>
              </a:schemeClr>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aphicFrame>
        <p:nvGraphicFramePr>
          <p:cNvPr id="96" name="think-cell data - do not delete" hidden="1">
            <a:extLst>
              <a:ext uri="{FF2B5EF4-FFF2-40B4-BE49-F238E27FC236}">
                <a16:creationId xmlns:a16="http://schemas.microsoft.com/office/drawing/2014/main" id="{6C74BB89-5208-9CBF-1313-3EF295C498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6" name="think-cell data - do not delete" hidden="1">
                        <a:extLst>
                          <a:ext uri="{FF2B5EF4-FFF2-40B4-BE49-F238E27FC236}">
                            <a16:creationId xmlns:a16="http://schemas.microsoft.com/office/drawing/2014/main" id="{6C74BB89-5208-9CBF-1313-3EF295C498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DC65C4-AEB8-799C-C49D-123D5A43F746}"/>
              </a:ext>
            </a:extLst>
          </p:cNvPr>
          <p:cNvSpPr>
            <a:spLocks noGrp="1"/>
          </p:cNvSpPr>
          <p:nvPr>
            <p:ph type="title"/>
          </p:nvPr>
        </p:nvSpPr>
        <p:spPr>
          <a:xfrm>
            <a:off x="557784" y="347472"/>
            <a:ext cx="11594764" cy="402095"/>
          </a:xfrm>
        </p:spPr>
        <p:txBody>
          <a:bodyPr vert="horz"/>
          <a:lstStyle/>
          <a:p>
            <a:r>
              <a:rPr lang="en-US" sz="2800">
                <a:solidFill>
                  <a:schemeClr val="bg1"/>
                </a:solidFill>
              </a:rPr>
              <a:t>TECHNICAL ARCHITECTURE</a:t>
            </a:r>
          </a:p>
        </p:txBody>
      </p:sp>
      <p:sp>
        <p:nvSpPr>
          <p:cNvPr id="16" name="TextBox 15">
            <a:extLst>
              <a:ext uri="{FF2B5EF4-FFF2-40B4-BE49-F238E27FC236}">
                <a16:creationId xmlns:a16="http://schemas.microsoft.com/office/drawing/2014/main" id="{0B97C47A-8A56-EA71-84D5-41D40AF87EA7}"/>
              </a:ext>
            </a:extLst>
          </p:cNvPr>
          <p:cNvSpPr txBox="1"/>
          <p:nvPr/>
        </p:nvSpPr>
        <p:spPr>
          <a:xfrm>
            <a:off x="3733670" y="4239961"/>
            <a:ext cx="4724661" cy="153888"/>
          </a:xfrm>
          <a:prstGeom prst="rect">
            <a:avLst/>
          </a:prstGeom>
          <a:noFill/>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solidFill>
                  <a:srgbClr val="000000"/>
                </a:solidFill>
                <a:effectLst/>
                <a:uLnTx/>
                <a:uFillTx/>
                <a:latin typeface="Arial"/>
                <a:ea typeface="+mn-ea"/>
                <a:cs typeface="+mn-cs"/>
              </a:rPr>
              <a:t>CONNECTIVITY</a:t>
            </a:r>
            <a:endParaRPr kumimoji="0" lang="en-US" sz="1000" b="1" i="1" u="none" strike="noStrike" kern="1200" cap="none" spc="0" normalizeH="0" baseline="0" noProof="0">
              <a:ln>
                <a:noFill/>
              </a:ln>
              <a:solidFill>
                <a:srgbClr val="000000"/>
              </a:solidFill>
              <a:effectLst/>
              <a:uLnTx/>
              <a:uFillTx/>
              <a:latin typeface="Arial"/>
              <a:ea typeface="+mn-ea"/>
              <a:cs typeface="Arial"/>
            </a:endParaRPr>
          </a:p>
        </p:txBody>
      </p:sp>
      <p:sp>
        <p:nvSpPr>
          <p:cNvPr id="19" name="Rounded Rectangle 447">
            <a:extLst>
              <a:ext uri="{FF2B5EF4-FFF2-40B4-BE49-F238E27FC236}">
                <a16:creationId xmlns:a16="http://schemas.microsoft.com/office/drawing/2014/main" id="{27D318C8-89C5-7FE2-A3E7-7EE3BBFF136C}"/>
              </a:ext>
            </a:extLst>
          </p:cNvPr>
          <p:cNvSpPr/>
          <p:nvPr/>
        </p:nvSpPr>
        <p:spPr>
          <a:xfrm>
            <a:off x="8096127" y="1306846"/>
            <a:ext cx="2669762" cy="1224305"/>
          </a:xfrm>
          <a:prstGeom prst="roundRect">
            <a:avLst/>
          </a:prstGeom>
          <a:solidFill>
            <a:srgbClr val="DC2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cxnSp>
        <p:nvCxnSpPr>
          <p:cNvPr id="20" name="Straight Connector 19">
            <a:extLst>
              <a:ext uri="{FF2B5EF4-FFF2-40B4-BE49-F238E27FC236}">
                <a16:creationId xmlns:a16="http://schemas.microsoft.com/office/drawing/2014/main" id="{F81911B0-102E-72DA-4677-1C1A35D77C99}"/>
              </a:ext>
            </a:extLst>
          </p:cNvPr>
          <p:cNvCxnSpPr>
            <a:cxnSpLocks/>
          </p:cNvCxnSpPr>
          <p:nvPr/>
        </p:nvCxnSpPr>
        <p:spPr>
          <a:xfrm flipV="1">
            <a:off x="9467896" y="3580223"/>
            <a:ext cx="7350" cy="2182402"/>
          </a:xfrm>
          <a:prstGeom prst="line">
            <a:avLst/>
          </a:prstGeom>
          <a:ln w="12700">
            <a:solidFill>
              <a:schemeClr val="tx1"/>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1" name="Rounded Rectangle 105">
            <a:extLst>
              <a:ext uri="{FF2B5EF4-FFF2-40B4-BE49-F238E27FC236}">
                <a16:creationId xmlns:a16="http://schemas.microsoft.com/office/drawing/2014/main" id="{C0DD5CE5-F993-77B9-DB2E-85B0140F4C3B}"/>
              </a:ext>
            </a:extLst>
          </p:cNvPr>
          <p:cNvSpPr/>
          <p:nvPr/>
        </p:nvSpPr>
        <p:spPr>
          <a:xfrm rot="16200000">
            <a:off x="518739" y="1715203"/>
            <a:ext cx="1316325" cy="396985"/>
          </a:xfrm>
          <a:prstGeom prst="roundRect">
            <a:avLst/>
          </a:prstGeom>
          <a:no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r>
              <a:rPr lang="en-US" sz="1000">
                <a:solidFill>
                  <a:schemeClr val="tx1"/>
                </a:solidFill>
                <a:latin typeface="+mj-lt"/>
              </a:rPr>
              <a:t>APPLICATIONS</a:t>
            </a:r>
            <a:br>
              <a:rPr lang="en-US" sz="1000">
                <a:solidFill>
                  <a:schemeClr val="tx1"/>
                </a:solidFill>
                <a:latin typeface="+mj-lt"/>
              </a:rPr>
            </a:br>
            <a:r>
              <a:rPr lang="en-US" sz="1000">
                <a:solidFill>
                  <a:schemeClr val="tx1"/>
                </a:solidFill>
                <a:latin typeface="+mj-lt"/>
              </a:rPr>
              <a:t>Partner / HBOC</a:t>
            </a:r>
            <a:endParaRPr kumimoji="0" lang="en-US" sz="1000" i="0" u="none" strike="noStrike" kern="1200" cap="none" spc="0" normalizeH="0" baseline="0" noProof="0">
              <a:ln>
                <a:noFill/>
              </a:ln>
              <a:solidFill>
                <a:schemeClr val="tx1"/>
              </a:solidFill>
              <a:effectLst/>
              <a:uLnTx/>
              <a:uFillTx/>
              <a:latin typeface="+mj-lt"/>
              <a:ea typeface="+mn-ea"/>
              <a:cs typeface="+mn-cs"/>
            </a:endParaRPr>
          </a:p>
        </p:txBody>
      </p:sp>
      <p:cxnSp>
        <p:nvCxnSpPr>
          <p:cNvPr id="25" name="Straight Connector 24">
            <a:extLst>
              <a:ext uri="{FF2B5EF4-FFF2-40B4-BE49-F238E27FC236}">
                <a16:creationId xmlns:a16="http://schemas.microsoft.com/office/drawing/2014/main" id="{F9C906A4-C916-95BE-77E8-9384D599B5C9}"/>
              </a:ext>
            </a:extLst>
          </p:cNvPr>
          <p:cNvCxnSpPr>
            <a:cxnSpLocks/>
          </p:cNvCxnSpPr>
          <p:nvPr/>
        </p:nvCxnSpPr>
        <p:spPr>
          <a:xfrm flipV="1">
            <a:off x="2724103" y="3655514"/>
            <a:ext cx="30641" cy="2107111"/>
          </a:xfrm>
          <a:prstGeom prst="line">
            <a:avLst/>
          </a:prstGeom>
          <a:ln w="12700">
            <a:solidFill>
              <a:schemeClr val="tx1"/>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B5BC7D0D-2E8D-8927-4311-042B0554EBB6}"/>
              </a:ext>
            </a:extLst>
          </p:cNvPr>
          <p:cNvSpPr txBox="1"/>
          <p:nvPr/>
        </p:nvSpPr>
        <p:spPr>
          <a:xfrm>
            <a:off x="3431540" y="4385564"/>
            <a:ext cx="0" cy="0"/>
          </a:xfrm>
          <a:prstGeom prst="rect">
            <a:avLst/>
          </a:prstGeom>
          <a:solidFill>
            <a:schemeClr val="bg1">
              <a:lumMod val="95000"/>
            </a:schemeClr>
          </a:solidFill>
          <a:ln>
            <a:noFill/>
          </a:ln>
        </p:spPr>
        <p:txBody>
          <a:bodyPr wrap="none" lIns="91440" tIns="91440" rIns="90000" bIns="91440" rtlCol="0">
            <a:noAutofit/>
          </a:bodyPr>
          <a:lstStyle/>
          <a:p>
            <a:pPr marR="0" algn="ctr" defTabSz="914400" rtl="0" eaLnBrk="1" fontAlgn="auto" latinLnBrk="0" hangingPunct="1">
              <a:lnSpc>
                <a:spcPct val="100000"/>
              </a:lnSpc>
              <a:spcBef>
                <a:spcPts val="0"/>
              </a:spcBef>
              <a:spcAft>
                <a:spcPts val="0"/>
              </a:spcAft>
              <a:buClrTx/>
              <a:buSzTx/>
              <a:tabLst/>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
        <p:nvSpPr>
          <p:cNvPr id="38" name="Rounded Rectangle 60">
            <a:extLst>
              <a:ext uri="{FF2B5EF4-FFF2-40B4-BE49-F238E27FC236}">
                <a16:creationId xmlns:a16="http://schemas.microsoft.com/office/drawing/2014/main" id="{099F8CC5-F4F4-6CA8-555A-057F24FEB2D5}"/>
              </a:ext>
            </a:extLst>
          </p:cNvPr>
          <p:cNvSpPr/>
          <p:nvPr/>
        </p:nvSpPr>
        <p:spPr>
          <a:xfrm>
            <a:off x="1568339" y="1306846"/>
            <a:ext cx="2669762" cy="1224305"/>
          </a:xfrm>
          <a:prstGeom prst="roundRect">
            <a:avLst/>
          </a:prstGeom>
          <a:solidFill>
            <a:srgbClr val="DC2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9" name="TextBox 38">
            <a:extLst>
              <a:ext uri="{FF2B5EF4-FFF2-40B4-BE49-F238E27FC236}">
                <a16:creationId xmlns:a16="http://schemas.microsoft.com/office/drawing/2014/main" id="{230C3C77-7B91-82EA-43BF-A9CB0AE7D09E}"/>
              </a:ext>
            </a:extLst>
          </p:cNvPr>
          <p:cNvSpPr txBox="1"/>
          <p:nvPr/>
        </p:nvSpPr>
        <p:spPr>
          <a:xfrm>
            <a:off x="1676166" y="1324308"/>
            <a:ext cx="2489388" cy="1178777"/>
          </a:xfrm>
          <a:prstGeom prst="rect">
            <a:avLst/>
          </a:prstGeom>
          <a:noFill/>
          <a:ln>
            <a:noFill/>
          </a:ln>
        </p:spPr>
        <p:txBody>
          <a:bodyPr wrap="none" lIns="91440" tIns="91440" rIns="90000" bIns="91440" rtlCol="0" anchor="ctr" anchorCtr="0">
            <a:noAutofit/>
          </a:bodyPr>
          <a:lstStyle/>
          <a:p>
            <a:pPr algn="ctr"/>
            <a:r>
              <a:rPr lang="en-US" sz="1100">
                <a:solidFill>
                  <a:schemeClr val="bg1"/>
                </a:solidFill>
                <a:latin typeface="Arial Black"/>
              </a:rPr>
              <a:t>CONNECT PACKAGE</a:t>
            </a:r>
          </a:p>
          <a:p>
            <a:pPr algn="ctr"/>
            <a:endParaRPr lang="en-US" sz="1100">
              <a:solidFill>
                <a:schemeClr val="bg1"/>
              </a:solidFill>
              <a:latin typeface="Arial Black"/>
            </a:endParaRPr>
          </a:p>
          <a:p>
            <a:pPr marL="115570" marR="0" lvl="0" indent="-115570" defTabSz="914400" rtl="0" eaLnBrk="1" fontAlgn="ctr" latinLnBrk="0" hangingPunct="1">
              <a:lnSpc>
                <a:spcPts val="1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a:ln>
                  <a:noFill/>
                </a:ln>
                <a:solidFill>
                  <a:schemeClr val="bg1"/>
                </a:solidFill>
                <a:effectLst/>
                <a:uLnTx/>
                <a:uFillTx/>
                <a:latin typeface="Arial"/>
                <a:cs typeface="Arial"/>
              </a:rPr>
              <a:t>KPI Dashboard</a:t>
            </a:r>
            <a:endParaRPr lang="en-US" sz="1000" b="0" u="none" strike="noStrike" kern="1200" cap="none" spc="0" normalizeH="0" baseline="0" noProof="0">
              <a:ln>
                <a:noFill/>
              </a:ln>
              <a:solidFill>
                <a:schemeClr val="bg1"/>
              </a:solidFill>
              <a:effectLst/>
              <a:uLnTx/>
              <a:uFillTx/>
              <a:latin typeface="Arial"/>
              <a:cs typeface="Arial"/>
            </a:endParaRPr>
          </a:p>
          <a:p>
            <a:pPr marL="115570" indent="-115570" fontAlgn="ctr">
              <a:lnSpc>
                <a:spcPts val="1000"/>
              </a:lnSpc>
              <a:buFont typeface="Arial" panose="020B0604020202020204" pitchFamily="34" charset="0"/>
              <a:buChar char="•"/>
              <a:defRPr/>
            </a:pPr>
            <a:r>
              <a:rPr lang="en-US" sz="1000">
                <a:solidFill>
                  <a:schemeClr val="bg1"/>
                </a:solidFill>
                <a:latin typeface="Arial"/>
                <a:cs typeface="Arial"/>
              </a:rPr>
              <a:t>Remote Building Manager</a:t>
            </a:r>
            <a:endParaRPr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marL="115570" marR="0" lvl="0" indent="-115570" defTabSz="914400" rtl="0" eaLnBrk="1" fontAlgn="ctr" latinLnBrk="0" hangingPunct="1">
              <a:lnSpc>
                <a:spcPts val="1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a:ln>
                  <a:noFill/>
                </a:ln>
                <a:solidFill>
                  <a:schemeClr val="bg1"/>
                </a:solidFill>
                <a:effectLst/>
                <a:uLnTx/>
                <a:uFillTx/>
                <a:latin typeface="Arial"/>
                <a:cs typeface="Arial"/>
              </a:rPr>
              <a:t>Remote</a:t>
            </a:r>
            <a:endParaRPr lang="en-US" sz="1000" b="0" u="none" strike="noStrike" kern="1200" cap="none" spc="0" normalizeH="0" baseline="0" noProof="0">
              <a:ln>
                <a:noFill/>
              </a:ln>
              <a:solidFill>
                <a:schemeClr val="bg1"/>
              </a:solidFill>
              <a:effectLst/>
              <a:uLnTx/>
              <a:uFillTx/>
              <a:latin typeface="Arial"/>
              <a:cs typeface="Arial"/>
            </a:endParaRPr>
          </a:p>
          <a:p>
            <a:pPr marL="115570" marR="0" lvl="0" indent="-115570" defTabSz="914400" rtl="0" eaLnBrk="1" fontAlgn="ctr" latinLnBrk="0" hangingPunct="1">
              <a:lnSpc>
                <a:spcPts val="1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a:ln>
                  <a:noFill/>
                </a:ln>
                <a:solidFill>
                  <a:schemeClr val="bg1"/>
                </a:solidFill>
                <a:effectLst/>
                <a:uLnTx/>
                <a:uFillTx/>
                <a:latin typeface="Arial"/>
                <a:cs typeface="Arial"/>
              </a:rPr>
              <a:t>Opportunity &amp; Obsolescence Tool</a:t>
            </a:r>
            <a:endParaRPr lang="en-US" sz="1000" b="0" u="none" strike="noStrike" kern="1200" cap="none" spc="0" normalizeH="0" baseline="0" noProof="0">
              <a:ln>
                <a:noFill/>
              </a:ln>
              <a:solidFill>
                <a:schemeClr val="bg1"/>
              </a:solidFill>
              <a:effectLst/>
              <a:uLnTx/>
              <a:uFillTx/>
              <a:latin typeface="Arial"/>
              <a:cs typeface="Arial"/>
            </a:endParaRPr>
          </a:p>
        </p:txBody>
      </p:sp>
      <p:sp>
        <p:nvSpPr>
          <p:cNvPr id="40" name="Rounded Rectangle 61">
            <a:extLst>
              <a:ext uri="{FF2B5EF4-FFF2-40B4-BE49-F238E27FC236}">
                <a16:creationId xmlns:a16="http://schemas.microsoft.com/office/drawing/2014/main" id="{77970BD6-FEF3-FDE9-70E7-15A04D94FDD0}"/>
              </a:ext>
            </a:extLst>
          </p:cNvPr>
          <p:cNvSpPr/>
          <p:nvPr/>
        </p:nvSpPr>
        <p:spPr>
          <a:xfrm>
            <a:off x="4766294" y="1306846"/>
            <a:ext cx="2896960" cy="1224305"/>
          </a:xfrm>
          <a:prstGeom prst="roundRect">
            <a:avLst/>
          </a:prstGeom>
          <a:solidFill>
            <a:srgbClr val="DC2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1" name="TextBox 40">
            <a:extLst>
              <a:ext uri="{FF2B5EF4-FFF2-40B4-BE49-F238E27FC236}">
                <a16:creationId xmlns:a16="http://schemas.microsoft.com/office/drawing/2014/main" id="{D8A77AE6-E26A-9C1B-406F-21037700DFA3}"/>
              </a:ext>
            </a:extLst>
          </p:cNvPr>
          <p:cNvSpPr txBox="1"/>
          <p:nvPr/>
        </p:nvSpPr>
        <p:spPr>
          <a:xfrm>
            <a:off x="4868952" y="1324308"/>
            <a:ext cx="2454095" cy="1178777"/>
          </a:xfrm>
          <a:prstGeom prst="rect">
            <a:avLst/>
          </a:prstGeom>
          <a:noFill/>
          <a:ln>
            <a:noFill/>
          </a:ln>
        </p:spPr>
        <p:txBody>
          <a:bodyPr wrap="none" lIns="91440" tIns="91440" rIns="90000" bIns="91440" rtlCol="0" anchor="ctr" anchorCtr="0">
            <a:noAutofit/>
          </a:bodyPr>
          <a:lstStyle/>
          <a:p>
            <a:pPr algn="ctr"/>
            <a:r>
              <a:rPr lang="en-US" sz="1100">
                <a:solidFill>
                  <a:schemeClr val="bg1"/>
                </a:solidFill>
                <a:latin typeface="Arial Black"/>
              </a:rPr>
              <a:t>CONNECT + PACKAGE</a:t>
            </a:r>
          </a:p>
          <a:p>
            <a:pPr algn="ctr"/>
            <a:endParaRPr lang="en-US" sz="1100">
              <a:solidFill>
                <a:schemeClr val="bg1"/>
              </a:solidFill>
              <a:latin typeface="Arial Black"/>
            </a:endParaRPr>
          </a:p>
          <a:p>
            <a:pPr marL="115888" marR="0" lvl="0" indent="-115888" defTabSz="914400" rtl="0" eaLnBrk="1" fontAlgn="ctr" latinLnBrk="0" hangingPunct="1">
              <a:lnSpc>
                <a:spcPts val="1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err="1">
                <a:ln>
                  <a:noFill/>
                </a:ln>
                <a:solidFill>
                  <a:schemeClr val="bg1"/>
                </a:solidFill>
                <a:effectLst/>
                <a:uLnTx/>
                <a:uFillTx/>
                <a:latin typeface="Arial" panose="020B0604020202020204" pitchFamily="34" charset="0"/>
                <a:cs typeface="Arial" panose="020B0604020202020204" pitchFamily="34" charset="0"/>
              </a:rPr>
              <a:t>PdM</a:t>
            </a:r>
            <a:r>
              <a:rPr kumimoji="0"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 service case </a:t>
            </a:r>
            <a:r>
              <a:rPr kumimoji="0" lang="en-US" sz="1000" b="0" u="none" strike="noStrike" kern="1200" cap="none" spc="0" normalizeH="0" baseline="0" noProof="0" err="1">
                <a:ln>
                  <a:noFill/>
                </a:ln>
                <a:solidFill>
                  <a:schemeClr val="bg1"/>
                </a:solidFill>
                <a:effectLst/>
                <a:uLnTx/>
                <a:uFillTx/>
                <a:latin typeface="Arial" panose="020B0604020202020204" pitchFamily="34" charset="0"/>
                <a:cs typeface="Arial" panose="020B0604020202020204" pitchFamily="34" charset="0"/>
              </a:rPr>
              <a:t>mgmt</a:t>
            </a:r>
            <a:r>
              <a:rPr lang="en-US" sz="1000">
                <a:solidFill>
                  <a:schemeClr val="bg1"/>
                </a:solidFill>
                <a:latin typeface="Arial" panose="020B0604020202020204" pitchFamily="34" charset="0"/>
                <a:cs typeface="Arial" panose="020B0604020202020204" pitchFamily="34" charset="0"/>
              </a:rPr>
              <a:t> </a:t>
            </a:r>
            <a:r>
              <a:rPr kumimoji="0"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a:t>
            </a:r>
            <a:r>
              <a:rPr lang="en-US" sz="1000">
                <a:solidFill>
                  <a:schemeClr val="bg1"/>
                </a:solidFill>
                <a:latin typeface="Arial" panose="020B0604020202020204" pitchFamily="34" charset="0"/>
                <a:cs typeface="Arial" panose="020B0604020202020204" pitchFamily="34" charset="0"/>
              </a:rPr>
              <a:t>a</a:t>
            </a:r>
            <a:r>
              <a:rPr kumimoji="0" lang="en-US" sz="1000" b="0" u="none" strike="noStrike" kern="1200" cap="none" spc="0" normalizeH="0" baseline="0" noProof="0" err="1">
                <a:ln>
                  <a:noFill/>
                </a:ln>
                <a:solidFill>
                  <a:schemeClr val="bg1"/>
                </a:solidFill>
                <a:effectLst/>
                <a:uLnTx/>
                <a:uFillTx/>
                <a:latin typeface="Arial" panose="020B0604020202020204" pitchFamily="34" charset="0"/>
                <a:cs typeface="Arial" panose="020B0604020202020204" pitchFamily="34" charset="0"/>
              </a:rPr>
              <a:t>nalytical</a:t>
            </a:r>
            <a:r>
              <a:rPr kumimoji="0"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 rules)</a:t>
            </a:r>
          </a:p>
          <a:p>
            <a:pPr marL="115888" marR="0" lvl="0" indent="-115888" defTabSz="914400" rtl="0" eaLnBrk="1" fontAlgn="ctr" latinLnBrk="0" hangingPunct="1">
              <a:lnSpc>
                <a:spcPts val="1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Remote Digital PPM with compliance reports</a:t>
            </a:r>
          </a:p>
          <a:p>
            <a:pPr marL="115888" marR="0" lvl="0" indent="-115888" defTabSz="914400" rtl="0" eaLnBrk="1" fontAlgn="ctr" latinLnBrk="0" hangingPunct="1">
              <a:lnSpc>
                <a:spcPts val="1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TA upgrade &amp; Asset 360</a:t>
            </a:r>
          </a:p>
          <a:p>
            <a:pPr marL="115888" marR="0" lvl="0" indent="-115888" defTabSz="914400" rtl="0" eaLnBrk="1" fontAlgn="ctr" latinLnBrk="0" hangingPunct="1">
              <a:lnSpc>
                <a:spcPts val="1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Maintenance Assist</a:t>
            </a:r>
          </a:p>
        </p:txBody>
      </p:sp>
      <p:sp>
        <p:nvSpPr>
          <p:cNvPr id="42" name="TextBox 41">
            <a:extLst>
              <a:ext uri="{FF2B5EF4-FFF2-40B4-BE49-F238E27FC236}">
                <a16:creationId xmlns:a16="http://schemas.microsoft.com/office/drawing/2014/main" id="{D873CC93-23A7-5590-6556-C8A1AB5C4472}"/>
              </a:ext>
            </a:extLst>
          </p:cNvPr>
          <p:cNvSpPr txBox="1"/>
          <p:nvPr/>
        </p:nvSpPr>
        <p:spPr>
          <a:xfrm>
            <a:off x="8186314" y="1355140"/>
            <a:ext cx="2489388" cy="1074521"/>
          </a:xfrm>
          <a:prstGeom prst="rect">
            <a:avLst/>
          </a:prstGeom>
          <a:noFill/>
          <a:ln>
            <a:noFill/>
          </a:ln>
        </p:spPr>
        <p:txBody>
          <a:bodyPr wrap="none" lIns="91440" tIns="91440" rIns="90000" bIns="91440" rtlCol="0" anchor="ctr" anchorCtr="0">
            <a:noAutofit/>
          </a:bodyPr>
          <a:lstStyle/>
          <a:p>
            <a:pPr algn="ctr"/>
            <a:r>
              <a:rPr lang="en-US" sz="1100">
                <a:solidFill>
                  <a:schemeClr val="bg1"/>
                </a:solidFill>
                <a:latin typeface="Arial Black"/>
              </a:rPr>
              <a:t>SUSTAINABILITY APPS</a:t>
            </a:r>
          </a:p>
          <a:p>
            <a:pPr algn="ctr"/>
            <a:endParaRPr lang="en-US" sz="1100">
              <a:solidFill>
                <a:schemeClr val="bg1"/>
              </a:solidFill>
              <a:latin typeface="Arial Black"/>
            </a:endParaRPr>
          </a:p>
          <a:p>
            <a:pPr marL="115888" marR="0" lvl="0" indent="-115888"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CEM Monitor</a:t>
            </a:r>
          </a:p>
          <a:p>
            <a:pPr marL="115888" marR="0" lvl="0" indent="-115888"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CEM Optimize</a:t>
            </a:r>
          </a:p>
          <a:p>
            <a:pPr marL="115888" marR="0" lvl="0" indent="-115888" defTabSz="914400" rtl="0" eaLnBrk="1" fontAlgn="ctr" latinLnBrk="0" hangingPunct="1">
              <a:lnSpc>
                <a:spcPct val="100000"/>
              </a:lnSpc>
              <a:spcBef>
                <a:spcPts val="0"/>
              </a:spcBef>
              <a:spcAft>
                <a:spcPts val="0"/>
              </a:spcAft>
              <a:buClrTx/>
              <a:buSzTx/>
              <a:buFont typeface="Arial" panose="020B0604020202020204" pitchFamily="34" charset="0"/>
              <a:buChar char="•"/>
              <a:defRPr/>
            </a:pPr>
            <a:r>
              <a:rPr kumimoji="0" lang="en-US" sz="1000" b="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Connected Power</a:t>
            </a:r>
          </a:p>
        </p:txBody>
      </p:sp>
      <p:sp>
        <p:nvSpPr>
          <p:cNvPr id="43" name="TextBox 42">
            <a:extLst>
              <a:ext uri="{FF2B5EF4-FFF2-40B4-BE49-F238E27FC236}">
                <a16:creationId xmlns:a16="http://schemas.microsoft.com/office/drawing/2014/main" id="{40E5B747-F83E-CD5D-2E39-CB4B4AEF23D4}"/>
              </a:ext>
            </a:extLst>
          </p:cNvPr>
          <p:cNvSpPr txBox="1"/>
          <p:nvPr/>
        </p:nvSpPr>
        <p:spPr>
          <a:xfrm>
            <a:off x="3289070" y="754055"/>
            <a:ext cx="4724661" cy="246221"/>
          </a:xfrm>
          <a:prstGeom prst="rect">
            <a:avLst/>
          </a:prstGeom>
          <a:noFill/>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0000"/>
                </a:solidFill>
                <a:effectLst/>
                <a:uLnTx/>
                <a:uFillTx/>
                <a:latin typeface="Arial"/>
                <a:ea typeface="+mn-ea"/>
                <a:cs typeface="+mn-cs"/>
              </a:rPr>
              <a:t>Partner Applications</a:t>
            </a:r>
            <a:endParaRPr kumimoji="0" lang="en-US" sz="1600" b="1" i="1" u="none" strike="noStrike" kern="1200" cap="none" spc="0" normalizeH="0" baseline="0" noProof="0">
              <a:ln>
                <a:noFill/>
              </a:ln>
              <a:solidFill>
                <a:srgbClr val="000000"/>
              </a:solidFill>
              <a:effectLst/>
              <a:uLnTx/>
              <a:uFillTx/>
              <a:latin typeface="Arial"/>
              <a:ea typeface="+mn-ea"/>
              <a:cs typeface="Arial"/>
            </a:endParaRPr>
          </a:p>
        </p:txBody>
      </p:sp>
      <p:cxnSp>
        <p:nvCxnSpPr>
          <p:cNvPr id="46" name="Straight Connector 45">
            <a:extLst>
              <a:ext uri="{FF2B5EF4-FFF2-40B4-BE49-F238E27FC236}">
                <a16:creationId xmlns:a16="http://schemas.microsoft.com/office/drawing/2014/main" id="{3117A934-E107-29CD-D57F-3B7182A3505D}"/>
              </a:ext>
            </a:extLst>
          </p:cNvPr>
          <p:cNvCxnSpPr>
            <a:cxnSpLocks/>
          </p:cNvCxnSpPr>
          <p:nvPr/>
        </p:nvCxnSpPr>
        <p:spPr>
          <a:xfrm flipV="1">
            <a:off x="2754744" y="2378862"/>
            <a:ext cx="6260" cy="993622"/>
          </a:xfrm>
          <a:prstGeom prst="line">
            <a:avLst/>
          </a:prstGeom>
          <a:ln w="12700">
            <a:solidFill>
              <a:schemeClr val="tx1"/>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3AF31B19-A17D-2BDA-0383-4DAA13AA3618}"/>
              </a:ext>
            </a:extLst>
          </p:cNvPr>
          <p:cNvCxnSpPr>
            <a:cxnSpLocks/>
          </p:cNvCxnSpPr>
          <p:nvPr/>
        </p:nvCxnSpPr>
        <p:spPr>
          <a:xfrm flipV="1">
            <a:off x="9467896" y="2378862"/>
            <a:ext cx="0" cy="993622"/>
          </a:xfrm>
          <a:prstGeom prst="line">
            <a:avLst/>
          </a:prstGeom>
          <a:ln w="12700">
            <a:solidFill>
              <a:schemeClr val="tx1"/>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DC3FCBA9-02D1-6DFC-1C53-4624C363E1B7}"/>
              </a:ext>
            </a:extLst>
          </p:cNvPr>
          <p:cNvCxnSpPr>
            <a:cxnSpLocks/>
          </p:cNvCxnSpPr>
          <p:nvPr/>
        </p:nvCxnSpPr>
        <p:spPr>
          <a:xfrm flipH="1" flipV="1">
            <a:off x="6187301" y="2378862"/>
            <a:ext cx="7350" cy="1276652"/>
          </a:xfrm>
          <a:prstGeom prst="line">
            <a:avLst/>
          </a:prstGeom>
          <a:ln w="12700">
            <a:solidFill>
              <a:schemeClr val="tx1"/>
            </a:solidFill>
            <a:prstDash val="sysDot"/>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3" name="Rounded Rectangle 105">
            <a:extLst>
              <a:ext uri="{FF2B5EF4-FFF2-40B4-BE49-F238E27FC236}">
                <a16:creationId xmlns:a16="http://schemas.microsoft.com/office/drawing/2014/main" id="{8BA13710-56B6-16C2-2965-6820BE668D4F}"/>
              </a:ext>
            </a:extLst>
          </p:cNvPr>
          <p:cNvSpPr/>
          <p:nvPr/>
        </p:nvSpPr>
        <p:spPr>
          <a:xfrm rot="5400000">
            <a:off x="9567663" y="3229038"/>
            <a:ext cx="1417342" cy="396985"/>
          </a:xfrm>
          <a:prstGeom prst="roundRect">
            <a:avLst/>
          </a:prstGeom>
          <a:no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r>
              <a:rPr kumimoji="0" lang="en-GB" sz="1000" i="0" u="none" strike="noStrike" kern="1200" cap="none" spc="0" normalizeH="0" baseline="0" noProof="0">
                <a:ln>
                  <a:noFill/>
                </a:ln>
                <a:solidFill>
                  <a:schemeClr val="tx1"/>
                </a:solidFill>
                <a:effectLst/>
                <a:uLnTx/>
                <a:uFillTx/>
                <a:latin typeface="+mj-lt"/>
                <a:ea typeface="+mn-ea"/>
                <a:cs typeface="+mn-cs"/>
              </a:rPr>
              <a:t>C</a:t>
            </a:r>
            <a:r>
              <a:rPr kumimoji="0" lang="en-US" sz="1000" i="0" u="none" strike="noStrike" kern="1200" cap="none" spc="0" normalizeH="0" baseline="0" noProof="0">
                <a:ln>
                  <a:noFill/>
                </a:ln>
                <a:solidFill>
                  <a:schemeClr val="tx1"/>
                </a:solidFill>
                <a:effectLst/>
                <a:uLnTx/>
                <a:uFillTx/>
                <a:latin typeface="+mj-lt"/>
                <a:ea typeface="+mn-ea"/>
                <a:cs typeface="+mn-cs"/>
              </a:rPr>
              <a:t>LOUD</a:t>
            </a:r>
            <a:r>
              <a:rPr lang="en-US" sz="1000">
                <a:solidFill>
                  <a:schemeClr val="tx1"/>
                </a:solidFill>
                <a:latin typeface="+mj-lt"/>
              </a:rPr>
              <a:t> ARCHITECTURE</a:t>
            </a:r>
            <a:endParaRPr kumimoji="0" lang="en-US" sz="1000" i="0" u="none" strike="noStrike" kern="1200" cap="none" spc="0" normalizeH="0" baseline="0" noProof="0">
              <a:ln>
                <a:noFill/>
              </a:ln>
              <a:solidFill>
                <a:schemeClr val="tx1"/>
              </a:solidFill>
              <a:effectLst/>
              <a:uLnTx/>
              <a:uFillTx/>
              <a:latin typeface="+mj-lt"/>
              <a:ea typeface="+mn-ea"/>
              <a:cs typeface="+mn-cs"/>
            </a:endParaRPr>
          </a:p>
        </p:txBody>
      </p:sp>
      <p:sp>
        <p:nvSpPr>
          <p:cNvPr id="30" name="Rounded Rectangle 49">
            <a:extLst>
              <a:ext uri="{FF2B5EF4-FFF2-40B4-BE49-F238E27FC236}">
                <a16:creationId xmlns:a16="http://schemas.microsoft.com/office/drawing/2014/main" id="{347EF1F4-CD96-D729-266D-2599D81FCEAD}"/>
              </a:ext>
            </a:extLst>
          </p:cNvPr>
          <p:cNvSpPr/>
          <p:nvPr/>
        </p:nvSpPr>
        <p:spPr>
          <a:xfrm>
            <a:off x="2247717" y="3017228"/>
            <a:ext cx="7662913" cy="75647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grpSp>
        <p:nvGrpSpPr>
          <p:cNvPr id="53" name="Group 52">
            <a:extLst>
              <a:ext uri="{FF2B5EF4-FFF2-40B4-BE49-F238E27FC236}">
                <a16:creationId xmlns:a16="http://schemas.microsoft.com/office/drawing/2014/main" id="{84908DB6-7703-20B1-055B-05D906766677}"/>
              </a:ext>
            </a:extLst>
          </p:cNvPr>
          <p:cNvGrpSpPr/>
          <p:nvPr/>
        </p:nvGrpSpPr>
        <p:grpSpPr>
          <a:xfrm>
            <a:off x="3025404" y="3093511"/>
            <a:ext cx="5404409" cy="588139"/>
            <a:chOff x="-1485732" y="1197687"/>
            <a:chExt cx="5404409" cy="588139"/>
          </a:xfrm>
        </p:grpSpPr>
        <p:pic>
          <p:nvPicPr>
            <p:cNvPr id="33" name="Picture 2" descr="Top Visitor Management Software Awards 2024 | Software Reviews">
              <a:extLst>
                <a:ext uri="{FF2B5EF4-FFF2-40B4-BE49-F238E27FC236}">
                  <a16:creationId xmlns:a16="http://schemas.microsoft.com/office/drawing/2014/main" id="{DF741C92-3698-1499-75F9-1B254762B6E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5363" y="1251600"/>
              <a:ext cx="1633314" cy="419508"/>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A46E54E8-32C9-DFC5-A961-D537B2F103D9}"/>
                </a:ext>
              </a:extLst>
            </p:cNvPr>
            <p:cNvSpPr txBox="1"/>
            <p:nvPr/>
          </p:nvSpPr>
          <p:spPr>
            <a:xfrm>
              <a:off x="-977493" y="1237186"/>
              <a:ext cx="2820120" cy="548640"/>
            </a:xfrm>
            <a:prstGeom prst="rect">
              <a:avLst/>
            </a:prstGeom>
            <a:noFill/>
            <a:ln>
              <a:noFill/>
            </a:ln>
          </p:spPr>
          <p:txBody>
            <a:bodyPr wrap="square" lIns="91440" tIns="91440" rIns="90000" bIns="91440" rtlCol="0">
              <a:noAutofit/>
            </a:bodyPr>
            <a:lstStyle/>
            <a:p>
              <a:r>
                <a:rPr kumimoji="0" lang="en-US" sz="1100" i="0" u="none" strike="noStrike" kern="1200" cap="none" spc="0" normalizeH="0" baseline="0" noProof="0">
                  <a:ln>
                    <a:noFill/>
                  </a:ln>
                  <a:effectLst/>
                  <a:uLnTx/>
                  <a:uFillTx/>
                  <a:latin typeface="+mj-lt"/>
                  <a:ea typeface="+mn-ea"/>
                  <a:cs typeface="+mn-cs"/>
                </a:rPr>
                <a:t>PARTNER MANAGEMENT PORTAL</a:t>
              </a:r>
              <a:br>
                <a:rPr kumimoji="0" lang="en-US" sz="1100" b="1" i="0" u="none" strike="noStrike" kern="1200" cap="none" spc="0" normalizeH="0" baseline="0" noProof="0">
                  <a:ln>
                    <a:noFill/>
                  </a:ln>
                  <a:effectLst/>
                  <a:uLnTx/>
                  <a:uFillTx/>
                  <a:latin typeface="Arial"/>
                  <a:ea typeface="+mn-ea"/>
                  <a:cs typeface="+mn-cs"/>
                </a:rPr>
              </a:br>
              <a:r>
                <a:rPr kumimoji="0" lang="en-GB" sz="1100" i="0" u="none" strike="noStrike" kern="1200" cap="none" spc="0" normalizeH="0" baseline="0" noProof="0">
                  <a:ln>
                    <a:noFill/>
                  </a:ln>
                  <a:effectLst/>
                  <a:uLnTx/>
                  <a:uFillTx/>
                  <a:latin typeface="Arial"/>
                  <a:ea typeface="+mn-ea"/>
                  <a:cs typeface="Arial"/>
                </a:rPr>
                <a:t>I</a:t>
              </a:r>
              <a:r>
                <a:rPr lang="en-GB" sz="1100" err="1">
                  <a:latin typeface="Arial"/>
                  <a:cs typeface="Arial"/>
                </a:rPr>
                <a:t>ntegrated</a:t>
              </a:r>
              <a:r>
                <a:rPr lang="en-GB" sz="1100">
                  <a:latin typeface="Arial"/>
                  <a:cs typeface="Arial"/>
                </a:rPr>
                <a:t> into BA Ecommerce</a:t>
              </a:r>
              <a:endParaRPr kumimoji="0" lang="en-US" sz="1100" b="1" i="0" u="none" strike="noStrike" kern="1200" cap="none" spc="0" normalizeH="0" baseline="0" noProof="0">
                <a:ln>
                  <a:noFill/>
                </a:ln>
                <a:effectLst/>
                <a:uLnTx/>
                <a:uFillTx/>
                <a:latin typeface="Arial"/>
                <a:ea typeface="+mn-ea"/>
                <a:cs typeface="+mn-cs"/>
              </a:endParaRPr>
            </a:p>
          </p:txBody>
        </p:sp>
        <p:pic>
          <p:nvPicPr>
            <p:cNvPr id="32" name="Graphic 31" descr="Cloud Computing with solid fill">
              <a:extLst>
                <a:ext uri="{FF2B5EF4-FFF2-40B4-BE49-F238E27FC236}">
                  <a16:creationId xmlns:a16="http://schemas.microsoft.com/office/drawing/2014/main" id="{4F2D95CA-308D-35DE-F286-D60658728B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85732" y="1197687"/>
              <a:ext cx="527333" cy="527333"/>
            </a:xfrm>
            <a:prstGeom prst="rect">
              <a:avLst/>
            </a:prstGeom>
          </p:spPr>
        </p:pic>
      </p:grpSp>
      <p:grpSp>
        <p:nvGrpSpPr>
          <p:cNvPr id="5" name="Group 4">
            <a:extLst>
              <a:ext uri="{FF2B5EF4-FFF2-40B4-BE49-F238E27FC236}">
                <a16:creationId xmlns:a16="http://schemas.microsoft.com/office/drawing/2014/main" id="{4847F4A2-D873-25A7-EAA7-15DB4BAA44C1}"/>
              </a:ext>
            </a:extLst>
          </p:cNvPr>
          <p:cNvGrpSpPr/>
          <p:nvPr/>
        </p:nvGrpSpPr>
        <p:grpSpPr>
          <a:xfrm>
            <a:off x="847774" y="4987991"/>
            <a:ext cx="10514583" cy="1232268"/>
            <a:chOff x="847774" y="5092766"/>
            <a:chExt cx="10514583" cy="1232268"/>
          </a:xfrm>
        </p:grpSpPr>
        <p:sp>
          <p:nvSpPr>
            <p:cNvPr id="7" name="Rounded Rectangle 35">
              <a:extLst>
                <a:ext uri="{FF2B5EF4-FFF2-40B4-BE49-F238E27FC236}">
                  <a16:creationId xmlns:a16="http://schemas.microsoft.com/office/drawing/2014/main" id="{DA4DBC90-6E69-A937-E31C-4B3372B78C6B}"/>
                </a:ext>
              </a:extLst>
            </p:cNvPr>
            <p:cNvSpPr/>
            <p:nvPr/>
          </p:nvSpPr>
          <p:spPr>
            <a:xfrm>
              <a:off x="847774" y="5092766"/>
              <a:ext cx="10514583" cy="123226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8" name="Graphic 7" descr="Processor with solid fill">
              <a:extLst>
                <a:ext uri="{FF2B5EF4-FFF2-40B4-BE49-F238E27FC236}">
                  <a16:creationId xmlns:a16="http://schemas.microsoft.com/office/drawing/2014/main" id="{7F5FC851-F5FA-D2A1-358E-934B5A11CE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50890" y="5240859"/>
              <a:ext cx="527333" cy="399854"/>
            </a:xfrm>
            <a:prstGeom prst="rect">
              <a:avLst/>
            </a:prstGeom>
          </p:spPr>
        </p:pic>
        <p:pic>
          <p:nvPicPr>
            <p:cNvPr id="9" name="Graphic 8" descr="Record with solid fill">
              <a:extLst>
                <a:ext uri="{FF2B5EF4-FFF2-40B4-BE49-F238E27FC236}">
                  <a16:creationId xmlns:a16="http://schemas.microsoft.com/office/drawing/2014/main" id="{7DDFE04C-2536-BCAE-1C95-6F6C5F2A94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27847" y="5202758"/>
              <a:ext cx="437640" cy="431097"/>
            </a:xfrm>
            <a:prstGeom prst="rect">
              <a:avLst/>
            </a:prstGeom>
          </p:spPr>
        </p:pic>
        <p:grpSp>
          <p:nvGrpSpPr>
            <p:cNvPr id="61" name="Group 60">
              <a:extLst>
                <a:ext uri="{FF2B5EF4-FFF2-40B4-BE49-F238E27FC236}">
                  <a16:creationId xmlns:a16="http://schemas.microsoft.com/office/drawing/2014/main" id="{FC10E1F8-9424-BC2C-F7E2-4A7751B02820}"/>
                </a:ext>
              </a:extLst>
            </p:cNvPr>
            <p:cNvGrpSpPr/>
            <p:nvPr/>
          </p:nvGrpSpPr>
          <p:grpSpPr>
            <a:xfrm>
              <a:off x="4631073" y="5293831"/>
              <a:ext cx="514301" cy="272750"/>
              <a:chOff x="6191407" y="5504908"/>
              <a:chExt cx="505360" cy="272750"/>
            </a:xfrm>
            <a:solidFill>
              <a:schemeClr val="bg1"/>
            </a:solidFill>
          </p:grpSpPr>
          <p:sp>
            <p:nvSpPr>
              <p:cNvPr id="59" name="Freeform: Shape 58">
                <a:extLst>
                  <a:ext uri="{FF2B5EF4-FFF2-40B4-BE49-F238E27FC236}">
                    <a16:creationId xmlns:a16="http://schemas.microsoft.com/office/drawing/2014/main" id="{3074BB1D-D451-BFFD-BFE2-AD9BA727FB70}"/>
                  </a:ext>
                </a:extLst>
              </p:cNvPr>
              <p:cNvSpPr/>
              <p:nvPr/>
            </p:nvSpPr>
            <p:spPr>
              <a:xfrm>
                <a:off x="6191407" y="5504908"/>
                <a:ext cx="329583" cy="272750"/>
              </a:xfrm>
              <a:custGeom>
                <a:avLst/>
                <a:gdLst>
                  <a:gd name="connsiteX0" fmla="*/ 296625 w 329583"/>
                  <a:gd name="connsiteY0" fmla="*/ 185081 h 272750"/>
                  <a:gd name="connsiteX1" fmla="*/ 32958 w 329583"/>
                  <a:gd name="connsiteY1" fmla="*/ 185081 h 272750"/>
                  <a:gd name="connsiteX2" fmla="*/ 32958 w 329583"/>
                  <a:gd name="connsiteY2" fmla="*/ 29223 h 272750"/>
                  <a:gd name="connsiteX3" fmla="*/ 296625 w 329583"/>
                  <a:gd name="connsiteY3" fmla="*/ 29223 h 272750"/>
                  <a:gd name="connsiteX4" fmla="*/ 296625 w 329583"/>
                  <a:gd name="connsiteY4" fmla="*/ 185081 h 272750"/>
                  <a:gd name="connsiteX5" fmla="*/ 307611 w 329583"/>
                  <a:gd name="connsiteY5" fmla="*/ 0 h 272750"/>
                  <a:gd name="connsiteX6" fmla="*/ 21972 w 329583"/>
                  <a:gd name="connsiteY6" fmla="*/ 0 h 272750"/>
                  <a:gd name="connsiteX7" fmla="*/ 0 w 329583"/>
                  <a:gd name="connsiteY7" fmla="*/ 19482 h 272750"/>
                  <a:gd name="connsiteX8" fmla="*/ 0 w 329583"/>
                  <a:gd name="connsiteY8" fmla="*/ 194822 h 272750"/>
                  <a:gd name="connsiteX9" fmla="*/ 21972 w 329583"/>
                  <a:gd name="connsiteY9" fmla="*/ 214304 h 272750"/>
                  <a:gd name="connsiteX10" fmla="*/ 131833 w 329583"/>
                  <a:gd name="connsiteY10" fmla="*/ 214304 h 272750"/>
                  <a:gd name="connsiteX11" fmla="*/ 131833 w 329583"/>
                  <a:gd name="connsiteY11" fmla="*/ 243528 h 272750"/>
                  <a:gd name="connsiteX12" fmla="*/ 82396 w 329583"/>
                  <a:gd name="connsiteY12" fmla="*/ 243528 h 272750"/>
                  <a:gd name="connsiteX13" fmla="*/ 82396 w 329583"/>
                  <a:gd name="connsiteY13" fmla="*/ 272751 h 272750"/>
                  <a:gd name="connsiteX14" fmla="*/ 247187 w 329583"/>
                  <a:gd name="connsiteY14" fmla="*/ 272751 h 272750"/>
                  <a:gd name="connsiteX15" fmla="*/ 247187 w 329583"/>
                  <a:gd name="connsiteY15" fmla="*/ 243528 h 272750"/>
                  <a:gd name="connsiteX16" fmla="*/ 197750 w 329583"/>
                  <a:gd name="connsiteY16" fmla="*/ 243528 h 272750"/>
                  <a:gd name="connsiteX17" fmla="*/ 197750 w 329583"/>
                  <a:gd name="connsiteY17" fmla="*/ 214304 h 272750"/>
                  <a:gd name="connsiteX18" fmla="*/ 307611 w 329583"/>
                  <a:gd name="connsiteY18" fmla="*/ 214304 h 272750"/>
                  <a:gd name="connsiteX19" fmla="*/ 329583 w 329583"/>
                  <a:gd name="connsiteY19" fmla="*/ 194822 h 272750"/>
                  <a:gd name="connsiteX20" fmla="*/ 329583 w 329583"/>
                  <a:gd name="connsiteY20" fmla="*/ 19482 h 272750"/>
                  <a:gd name="connsiteX21" fmla="*/ 307611 w 329583"/>
                  <a:gd name="connsiteY21" fmla="*/ 0 h 27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583" h="272750">
                    <a:moveTo>
                      <a:pt x="296625" y="185081"/>
                    </a:moveTo>
                    <a:lnTo>
                      <a:pt x="32958" y="185081"/>
                    </a:lnTo>
                    <a:lnTo>
                      <a:pt x="32958" y="29223"/>
                    </a:lnTo>
                    <a:lnTo>
                      <a:pt x="296625" y="29223"/>
                    </a:lnTo>
                    <a:lnTo>
                      <a:pt x="296625" y="185081"/>
                    </a:lnTo>
                    <a:close/>
                    <a:moveTo>
                      <a:pt x="307611" y="0"/>
                    </a:moveTo>
                    <a:lnTo>
                      <a:pt x="21972" y="0"/>
                    </a:lnTo>
                    <a:cubicBezTo>
                      <a:pt x="9887" y="0"/>
                      <a:pt x="0" y="8767"/>
                      <a:pt x="0" y="19482"/>
                    </a:cubicBezTo>
                    <a:lnTo>
                      <a:pt x="0" y="194822"/>
                    </a:lnTo>
                    <a:cubicBezTo>
                      <a:pt x="0" y="205537"/>
                      <a:pt x="9887" y="214304"/>
                      <a:pt x="21972" y="214304"/>
                    </a:cubicBezTo>
                    <a:lnTo>
                      <a:pt x="131833" y="214304"/>
                    </a:lnTo>
                    <a:lnTo>
                      <a:pt x="131833" y="243528"/>
                    </a:lnTo>
                    <a:lnTo>
                      <a:pt x="82396" y="243528"/>
                    </a:lnTo>
                    <a:lnTo>
                      <a:pt x="82396" y="272751"/>
                    </a:lnTo>
                    <a:lnTo>
                      <a:pt x="247187" y="272751"/>
                    </a:lnTo>
                    <a:lnTo>
                      <a:pt x="247187" y="243528"/>
                    </a:lnTo>
                    <a:lnTo>
                      <a:pt x="197750" y="243528"/>
                    </a:lnTo>
                    <a:lnTo>
                      <a:pt x="197750" y="214304"/>
                    </a:lnTo>
                    <a:lnTo>
                      <a:pt x="307611" y="214304"/>
                    </a:lnTo>
                    <a:cubicBezTo>
                      <a:pt x="319696" y="214304"/>
                      <a:pt x="329583" y="205537"/>
                      <a:pt x="329583" y="194822"/>
                    </a:cubicBezTo>
                    <a:lnTo>
                      <a:pt x="329583" y="19482"/>
                    </a:lnTo>
                    <a:cubicBezTo>
                      <a:pt x="329583" y="8767"/>
                      <a:pt x="319696" y="0"/>
                      <a:pt x="307611" y="0"/>
                    </a:cubicBezTo>
                    <a:close/>
                  </a:path>
                </a:pathLst>
              </a:custGeom>
              <a:solidFill>
                <a:srgbClr val="DC202E"/>
              </a:solidFill>
              <a:ln w="5457"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06866CE0-3CB2-4AFE-9285-D25AA7547AFB}"/>
                  </a:ext>
                </a:extLst>
              </p:cNvPr>
              <p:cNvSpPr/>
              <p:nvPr/>
            </p:nvSpPr>
            <p:spPr>
              <a:xfrm>
                <a:off x="6542962" y="5504908"/>
                <a:ext cx="153805" cy="272750"/>
              </a:xfrm>
              <a:custGeom>
                <a:avLst/>
                <a:gdLst>
                  <a:gd name="connsiteX0" fmla="*/ 131833 w 153805"/>
                  <a:gd name="connsiteY0" fmla="*/ 48706 h 272750"/>
                  <a:gd name="connsiteX1" fmla="*/ 21972 w 153805"/>
                  <a:gd name="connsiteY1" fmla="*/ 48706 h 272750"/>
                  <a:gd name="connsiteX2" fmla="*/ 21972 w 153805"/>
                  <a:gd name="connsiteY2" fmla="*/ 19482 h 272750"/>
                  <a:gd name="connsiteX3" fmla="*/ 131833 w 153805"/>
                  <a:gd name="connsiteY3" fmla="*/ 19482 h 272750"/>
                  <a:gd name="connsiteX4" fmla="*/ 131833 w 153805"/>
                  <a:gd name="connsiteY4" fmla="*/ 48706 h 272750"/>
                  <a:gd name="connsiteX5" fmla="*/ 131833 w 153805"/>
                  <a:gd name="connsiteY5" fmla="*/ 97411 h 272750"/>
                  <a:gd name="connsiteX6" fmla="*/ 21972 w 153805"/>
                  <a:gd name="connsiteY6" fmla="*/ 97411 h 272750"/>
                  <a:gd name="connsiteX7" fmla="*/ 21972 w 153805"/>
                  <a:gd name="connsiteY7" fmla="*/ 68188 h 272750"/>
                  <a:gd name="connsiteX8" fmla="*/ 131833 w 153805"/>
                  <a:gd name="connsiteY8" fmla="*/ 68188 h 272750"/>
                  <a:gd name="connsiteX9" fmla="*/ 131833 w 153805"/>
                  <a:gd name="connsiteY9" fmla="*/ 97411 h 272750"/>
                  <a:gd name="connsiteX10" fmla="*/ 76903 w 153805"/>
                  <a:gd name="connsiteY10" fmla="*/ 243528 h 272750"/>
                  <a:gd name="connsiteX11" fmla="*/ 60424 w 153805"/>
                  <a:gd name="connsiteY11" fmla="*/ 228916 h 272750"/>
                  <a:gd name="connsiteX12" fmla="*/ 76903 w 153805"/>
                  <a:gd name="connsiteY12" fmla="*/ 214304 h 272750"/>
                  <a:gd name="connsiteX13" fmla="*/ 93382 w 153805"/>
                  <a:gd name="connsiteY13" fmla="*/ 228916 h 272750"/>
                  <a:gd name="connsiteX14" fmla="*/ 76903 w 153805"/>
                  <a:gd name="connsiteY14" fmla="*/ 243528 h 272750"/>
                  <a:gd name="connsiteX15" fmla="*/ 131833 w 153805"/>
                  <a:gd name="connsiteY15" fmla="*/ 0 h 272750"/>
                  <a:gd name="connsiteX16" fmla="*/ 21972 w 153805"/>
                  <a:gd name="connsiteY16" fmla="*/ 0 h 272750"/>
                  <a:gd name="connsiteX17" fmla="*/ 0 w 153805"/>
                  <a:gd name="connsiteY17" fmla="*/ 19482 h 272750"/>
                  <a:gd name="connsiteX18" fmla="*/ 0 w 153805"/>
                  <a:gd name="connsiteY18" fmla="*/ 253269 h 272750"/>
                  <a:gd name="connsiteX19" fmla="*/ 21972 w 153805"/>
                  <a:gd name="connsiteY19" fmla="*/ 272751 h 272750"/>
                  <a:gd name="connsiteX20" fmla="*/ 131833 w 153805"/>
                  <a:gd name="connsiteY20" fmla="*/ 272751 h 272750"/>
                  <a:gd name="connsiteX21" fmla="*/ 153805 w 153805"/>
                  <a:gd name="connsiteY21" fmla="*/ 253269 h 272750"/>
                  <a:gd name="connsiteX22" fmla="*/ 153805 w 153805"/>
                  <a:gd name="connsiteY22" fmla="*/ 19482 h 272750"/>
                  <a:gd name="connsiteX23" fmla="*/ 131833 w 153805"/>
                  <a:gd name="connsiteY23" fmla="*/ 0 h 27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3805" h="272750">
                    <a:moveTo>
                      <a:pt x="131833" y="48706"/>
                    </a:moveTo>
                    <a:lnTo>
                      <a:pt x="21972" y="48706"/>
                    </a:lnTo>
                    <a:lnTo>
                      <a:pt x="21972" y="19482"/>
                    </a:lnTo>
                    <a:lnTo>
                      <a:pt x="131833" y="19482"/>
                    </a:lnTo>
                    <a:lnTo>
                      <a:pt x="131833" y="48706"/>
                    </a:lnTo>
                    <a:close/>
                    <a:moveTo>
                      <a:pt x="131833" y="97411"/>
                    </a:moveTo>
                    <a:lnTo>
                      <a:pt x="21972" y="97411"/>
                    </a:lnTo>
                    <a:lnTo>
                      <a:pt x="21972" y="68188"/>
                    </a:lnTo>
                    <a:lnTo>
                      <a:pt x="131833" y="68188"/>
                    </a:lnTo>
                    <a:lnTo>
                      <a:pt x="131833" y="97411"/>
                    </a:lnTo>
                    <a:close/>
                    <a:moveTo>
                      <a:pt x="76903" y="243528"/>
                    </a:moveTo>
                    <a:cubicBezTo>
                      <a:pt x="67565" y="243528"/>
                      <a:pt x="60424" y="237196"/>
                      <a:pt x="60424" y="228916"/>
                    </a:cubicBezTo>
                    <a:cubicBezTo>
                      <a:pt x="60424" y="220636"/>
                      <a:pt x="67565" y="214304"/>
                      <a:pt x="76903" y="214304"/>
                    </a:cubicBezTo>
                    <a:cubicBezTo>
                      <a:pt x="86241" y="214304"/>
                      <a:pt x="93382" y="220636"/>
                      <a:pt x="93382" y="228916"/>
                    </a:cubicBezTo>
                    <a:cubicBezTo>
                      <a:pt x="93382" y="237196"/>
                      <a:pt x="86241" y="243528"/>
                      <a:pt x="76903" y="243528"/>
                    </a:cubicBezTo>
                    <a:close/>
                    <a:moveTo>
                      <a:pt x="131833" y="0"/>
                    </a:moveTo>
                    <a:lnTo>
                      <a:pt x="21972" y="0"/>
                    </a:lnTo>
                    <a:cubicBezTo>
                      <a:pt x="9888" y="0"/>
                      <a:pt x="0" y="8767"/>
                      <a:pt x="0" y="19482"/>
                    </a:cubicBezTo>
                    <a:lnTo>
                      <a:pt x="0" y="253269"/>
                    </a:lnTo>
                    <a:cubicBezTo>
                      <a:pt x="0" y="263984"/>
                      <a:pt x="9888" y="272751"/>
                      <a:pt x="21972" y="272751"/>
                    </a:cubicBezTo>
                    <a:lnTo>
                      <a:pt x="131833" y="272751"/>
                    </a:lnTo>
                    <a:cubicBezTo>
                      <a:pt x="143918" y="272751"/>
                      <a:pt x="153805" y="263984"/>
                      <a:pt x="153805" y="253269"/>
                    </a:cubicBezTo>
                    <a:lnTo>
                      <a:pt x="153805" y="19482"/>
                    </a:lnTo>
                    <a:cubicBezTo>
                      <a:pt x="153805" y="8767"/>
                      <a:pt x="143918" y="0"/>
                      <a:pt x="131833" y="0"/>
                    </a:cubicBezTo>
                    <a:close/>
                  </a:path>
                </a:pathLst>
              </a:custGeom>
              <a:solidFill>
                <a:srgbClr val="DC202E"/>
              </a:solidFill>
              <a:ln w="5457" cap="flat">
                <a:noFill/>
                <a:prstDash val="solid"/>
                <a:miter/>
              </a:ln>
            </p:spPr>
            <p:txBody>
              <a:bodyPr rtlCol="0" anchor="ctr"/>
              <a:lstStyle/>
              <a:p>
                <a:endParaRPr lang="en-US"/>
              </a:p>
            </p:txBody>
          </p:sp>
        </p:grpSp>
        <p:sp>
          <p:nvSpPr>
            <p:cNvPr id="13" name="TextBox 12">
              <a:extLst>
                <a:ext uri="{FF2B5EF4-FFF2-40B4-BE49-F238E27FC236}">
                  <a16:creationId xmlns:a16="http://schemas.microsoft.com/office/drawing/2014/main" id="{73267F6F-F845-4F7D-281B-39CB2A9A8487}"/>
                </a:ext>
              </a:extLst>
            </p:cNvPr>
            <p:cNvSpPr txBox="1"/>
            <p:nvPr/>
          </p:nvSpPr>
          <p:spPr>
            <a:xfrm>
              <a:off x="3556668" y="5591937"/>
              <a:ext cx="2658106" cy="664834"/>
            </a:xfrm>
            <a:prstGeom prst="rect">
              <a:avLst/>
            </a:prstGeom>
            <a:noFill/>
            <a:ln>
              <a:noFill/>
            </a:ln>
          </p:spPr>
          <p:txBody>
            <a:bodyPr wrap="square" lIns="91440" tIns="91440" rIns="90000" bIns="91440" rtlCol="0">
              <a:noAutofit/>
            </a:bodyPr>
            <a:lstStyle/>
            <a:p>
              <a:pPr marR="0" algn="ctr" defTabSz="914400" rtl="0" eaLnBrk="1" fontAlgn="auto" latinLnBrk="0" hangingPunct="1">
                <a:lnSpc>
                  <a:spcPct val="100000"/>
                </a:lnSpc>
                <a:spcBef>
                  <a:spcPts val="0"/>
                </a:spcBef>
                <a:spcAft>
                  <a:spcPts val="0"/>
                </a:spcAft>
                <a:buClrTx/>
                <a:buSzTx/>
                <a:tabLst/>
              </a:pPr>
              <a:r>
                <a:rPr kumimoji="0" lang="en-US" sz="1100" i="0" u="none" strike="noStrike" kern="1200" cap="none" spc="0" normalizeH="0" baseline="0" noProof="0">
                  <a:ln>
                    <a:noFill/>
                  </a:ln>
                  <a:solidFill>
                    <a:schemeClr val="bg1"/>
                  </a:solidFill>
                  <a:effectLst/>
                  <a:uLnTx/>
                  <a:uFillTx/>
                  <a:latin typeface="+mj-lt"/>
                  <a:ea typeface="+mn-ea"/>
                  <a:cs typeface="+mn-cs"/>
                </a:rPr>
                <a:t>SUPERVISOR</a:t>
              </a:r>
            </a:p>
            <a:p>
              <a:pPr marR="0" algn="ctr" defTabSz="914400" rtl="0" eaLnBrk="1" fontAlgn="auto" latinLnBrk="0" hangingPunct="1">
                <a:lnSpc>
                  <a:spcPct val="100000"/>
                </a:lnSpc>
                <a:spcBef>
                  <a:spcPts val="0"/>
                </a:spcBef>
                <a:spcAft>
                  <a:spcPts val="0"/>
                </a:spcAft>
                <a:buClrTx/>
                <a:buSzTx/>
                <a:tabLst/>
              </a:pPr>
              <a:r>
                <a:rPr lang="en-US" sz="1100">
                  <a:solidFill>
                    <a:schemeClr val="bg1"/>
                  </a:solidFill>
                  <a:latin typeface="Arial"/>
                </a:rPr>
                <a:t>EBI, Honeywell Niagara,</a:t>
              </a:r>
            </a:p>
            <a:p>
              <a:pPr marR="0" algn="ctr" defTabSz="914400" rtl="0" eaLnBrk="1" fontAlgn="auto" latinLnBrk="0" hangingPunct="1">
                <a:lnSpc>
                  <a:spcPct val="100000"/>
                </a:lnSpc>
                <a:spcBef>
                  <a:spcPts val="0"/>
                </a:spcBef>
                <a:spcAft>
                  <a:spcPts val="0"/>
                </a:spcAft>
                <a:buClrTx/>
                <a:buSzTx/>
                <a:tabLst/>
              </a:pPr>
              <a:r>
                <a:rPr lang="en-US" sz="1100">
                  <a:solidFill>
                    <a:schemeClr val="bg1"/>
                  </a:solidFill>
                  <a:latin typeface="Arial"/>
                </a:rPr>
                <a:t>Alerton Compass, Tridium (Niagara)</a:t>
              </a:r>
              <a:endParaRPr kumimoji="0" lang="en-US" sz="1100" i="0" u="none" strike="noStrike" kern="1200" cap="none" spc="0" normalizeH="0" baseline="0" noProof="0">
                <a:ln>
                  <a:noFill/>
                </a:ln>
                <a:solidFill>
                  <a:schemeClr val="bg1"/>
                </a:solidFill>
                <a:effectLst/>
                <a:uLnTx/>
                <a:uFillTx/>
                <a:latin typeface="Arial"/>
                <a:ea typeface="+mn-ea"/>
                <a:cs typeface="+mn-cs"/>
              </a:endParaRPr>
            </a:p>
          </p:txBody>
        </p:sp>
        <p:sp>
          <p:nvSpPr>
            <p:cNvPr id="14" name="TextBox 13">
              <a:extLst>
                <a:ext uri="{FF2B5EF4-FFF2-40B4-BE49-F238E27FC236}">
                  <a16:creationId xmlns:a16="http://schemas.microsoft.com/office/drawing/2014/main" id="{CBDC0FBE-5F1F-3E0F-4450-6320C53B37F4}"/>
                </a:ext>
              </a:extLst>
            </p:cNvPr>
            <p:cNvSpPr txBox="1"/>
            <p:nvPr/>
          </p:nvSpPr>
          <p:spPr>
            <a:xfrm>
              <a:off x="6095999" y="5591937"/>
              <a:ext cx="2397456" cy="664834"/>
            </a:xfrm>
            <a:prstGeom prst="rect">
              <a:avLst/>
            </a:prstGeom>
            <a:noFill/>
            <a:ln>
              <a:noFill/>
            </a:ln>
          </p:spPr>
          <p:txBody>
            <a:bodyPr wrap="square" lIns="91440" tIns="91440" rIns="90000" bIns="91440" rtlCol="0">
              <a:noAutofit/>
            </a:bodyPr>
            <a:lstStyle/>
            <a:p>
              <a:pPr marR="0" algn="ctr" defTabSz="914400" rtl="0" eaLnBrk="1" fontAlgn="auto" latinLnBrk="0" hangingPunct="1">
                <a:lnSpc>
                  <a:spcPct val="100000"/>
                </a:lnSpc>
                <a:spcBef>
                  <a:spcPts val="0"/>
                </a:spcBef>
                <a:spcAft>
                  <a:spcPts val="0"/>
                </a:spcAft>
                <a:buClrTx/>
                <a:buSzTx/>
                <a:tabLst/>
              </a:pPr>
              <a:r>
                <a:rPr kumimoji="0" lang="en-US" sz="1100" i="0" u="none" strike="noStrike" kern="1200" cap="none" spc="0" normalizeH="0" baseline="0" noProof="0">
                  <a:ln>
                    <a:noFill/>
                  </a:ln>
                  <a:solidFill>
                    <a:schemeClr val="bg1"/>
                  </a:solidFill>
                  <a:effectLst/>
                  <a:uLnTx/>
                  <a:uFillTx/>
                  <a:latin typeface="+mj-lt"/>
                  <a:ea typeface="+mn-ea"/>
                  <a:cs typeface="+mn-cs"/>
                </a:rPr>
                <a:t>PLANT CONTROLLERS</a:t>
              </a:r>
            </a:p>
            <a:p>
              <a:pPr marR="0" algn="ctr" defTabSz="914400" rtl="0" eaLnBrk="1" fontAlgn="auto" latinLnBrk="0" hangingPunct="1">
                <a:lnSpc>
                  <a:spcPct val="100000"/>
                </a:lnSpc>
                <a:spcBef>
                  <a:spcPts val="0"/>
                </a:spcBef>
                <a:spcAft>
                  <a:spcPts val="0"/>
                </a:spcAft>
                <a:buClrTx/>
                <a:buSzTx/>
                <a:tabLst/>
              </a:pPr>
              <a:r>
                <a:rPr lang="en-US" sz="1100">
                  <a:solidFill>
                    <a:schemeClr val="bg1"/>
                  </a:solidFill>
                  <a:latin typeface="Arial"/>
                </a:rPr>
                <a:t>Honeywell, Alerton, </a:t>
              </a:r>
            </a:p>
            <a:p>
              <a:pPr marR="0" algn="ctr" defTabSz="914400" rtl="0" eaLnBrk="1" fontAlgn="auto" latinLnBrk="0" hangingPunct="1">
                <a:lnSpc>
                  <a:spcPct val="100000"/>
                </a:lnSpc>
                <a:spcBef>
                  <a:spcPts val="0"/>
                </a:spcBef>
                <a:spcAft>
                  <a:spcPts val="0"/>
                </a:spcAft>
                <a:buClrTx/>
                <a:buSzTx/>
                <a:tabLst/>
              </a:pPr>
              <a:r>
                <a:rPr lang="en-US" sz="1100">
                  <a:solidFill>
                    <a:schemeClr val="bg1"/>
                  </a:solidFill>
                  <a:latin typeface="Arial"/>
                </a:rPr>
                <a:t>SBC, Trend</a:t>
              </a:r>
              <a:endParaRPr kumimoji="0" lang="en-US" sz="1100" i="0" u="none" strike="noStrike" kern="1200" cap="none" spc="0" normalizeH="0" baseline="0" noProof="0">
                <a:ln>
                  <a:noFill/>
                </a:ln>
                <a:solidFill>
                  <a:schemeClr val="bg1"/>
                </a:solidFill>
                <a:effectLst/>
                <a:uLnTx/>
                <a:uFillTx/>
                <a:latin typeface="Arial"/>
                <a:ea typeface="+mn-ea"/>
                <a:cs typeface="+mn-cs"/>
              </a:endParaRPr>
            </a:p>
          </p:txBody>
        </p:sp>
        <p:sp>
          <p:nvSpPr>
            <p:cNvPr id="15" name="TextBox 14">
              <a:extLst>
                <a:ext uri="{FF2B5EF4-FFF2-40B4-BE49-F238E27FC236}">
                  <a16:creationId xmlns:a16="http://schemas.microsoft.com/office/drawing/2014/main" id="{BF19375E-7C90-2E9F-B86D-CA4992F6FE2E}"/>
                </a:ext>
              </a:extLst>
            </p:cNvPr>
            <p:cNvSpPr txBox="1"/>
            <p:nvPr/>
          </p:nvSpPr>
          <p:spPr>
            <a:xfrm>
              <a:off x="8617603" y="5589416"/>
              <a:ext cx="2617221" cy="686498"/>
            </a:xfrm>
            <a:prstGeom prst="rect">
              <a:avLst/>
            </a:prstGeom>
            <a:noFill/>
            <a:ln>
              <a:noFill/>
            </a:ln>
          </p:spPr>
          <p:txBody>
            <a:bodyPr wrap="square" lIns="91440" tIns="91440" rIns="90000" bIns="91440" rtlCol="0">
              <a:noAutofit/>
            </a:bodyPr>
            <a:lstStyle/>
            <a:p>
              <a:pPr marR="0" algn="ctr" defTabSz="914400" rtl="0" eaLnBrk="1" fontAlgn="auto" latinLnBrk="0" hangingPunct="1">
                <a:lnSpc>
                  <a:spcPct val="100000"/>
                </a:lnSpc>
                <a:spcBef>
                  <a:spcPts val="0"/>
                </a:spcBef>
                <a:spcAft>
                  <a:spcPts val="0"/>
                </a:spcAft>
                <a:buClrTx/>
                <a:buSzTx/>
                <a:tabLst/>
              </a:pPr>
              <a:r>
                <a:rPr kumimoji="0" lang="en-US" sz="1100" i="0" u="none" strike="noStrike" kern="1200" cap="none" spc="0" normalizeH="0" baseline="0" noProof="0">
                  <a:ln>
                    <a:noFill/>
                  </a:ln>
                  <a:solidFill>
                    <a:schemeClr val="bg1"/>
                  </a:solidFill>
                  <a:effectLst/>
                  <a:uLnTx/>
                  <a:uFillTx/>
                  <a:latin typeface="+mj-lt"/>
                  <a:ea typeface="+mn-ea"/>
                  <a:cs typeface="+mn-cs"/>
                </a:rPr>
                <a:t>IoT DEVICES / FIELD DEVICES</a:t>
              </a:r>
            </a:p>
            <a:p>
              <a:pPr marR="0" algn="ctr" defTabSz="914400" rtl="0" eaLnBrk="1" fontAlgn="auto" latinLnBrk="0" hangingPunct="1">
                <a:lnSpc>
                  <a:spcPct val="100000"/>
                </a:lnSpc>
                <a:spcBef>
                  <a:spcPts val="0"/>
                </a:spcBef>
                <a:spcAft>
                  <a:spcPts val="0"/>
                </a:spcAft>
                <a:buClrTx/>
                <a:buSzTx/>
                <a:tabLst/>
              </a:pPr>
              <a:r>
                <a:rPr lang="en-US" sz="1100">
                  <a:solidFill>
                    <a:schemeClr val="bg1"/>
                  </a:solidFill>
                  <a:latin typeface="Arial"/>
                </a:rPr>
                <a:t>Thermostats, </a:t>
              </a:r>
            </a:p>
            <a:p>
              <a:pPr marR="0" algn="ctr" defTabSz="914400" rtl="0" eaLnBrk="1" fontAlgn="auto" latinLnBrk="0" hangingPunct="1">
                <a:lnSpc>
                  <a:spcPct val="100000"/>
                </a:lnSpc>
                <a:spcBef>
                  <a:spcPts val="0"/>
                </a:spcBef>
                <a:spcAft>
                  <a:spcPts val="0"/>
                </a:spcAft>
                <a:buClrTx/>
                <a:buSzTx/>
                <a:tabLst/>
              </a:pPr>
              <a:r>
                <a:rPr lang="en-US" sz="1100">
                  <a:solidFill>
                    <a:schemeClr val="bg1"/>
                  </a:solidFill>
                  <a:latin typeface="Arial"/>
                </a:rPr>
                <a:t>Connected Power Hub</a:t>
              </a:r>
              <a:endParaRPr kumimoji="0" lang="en-US" sz="1100" i="0" u="none" strike="noStrike" kern="1200" cap="none" spc="0" normalizeH="0" baseline="0" noProof="0">
                <a:ln>
                  <a:noFill/>
                </a:ln>
                <a:solidFill>
                  <a:schemeClr val="bg1"/>
                </a:solidFill>
                <a:effectLst/>
                <a:uLnTx/>
                <a:uFillTx/>
                <a:latin typeface="Arial"/>
                <a:ea typeface="+mn-ea"/>
                <a:cs typeface="+mn-cs"/>
              </a:endParaRPr>
            </a:p>
          </p:txBody>
        </p:sp>
        <p:pic>
          <p:nvPicPr>
            <p:cNvPr id="17" name="Graphic 16" descr="Wireless router with solid fill">
              <a:extLst>
                <a:ext uri="{FF2B5EF4-FFF2-40B4-BE49-F238E27FC236}">
                  <a16:creationId xmlns:a16="http://schemas.microsoft.com/office/drawing/2014/main" id="{B38C13DA-7D97-5913-DEB8-C4E3296337C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20910" y="5166946"/>
              <a:ext cx="548803" cy="521235"/>
            </a:xfrm>
            <a:prstGeom prst="rect">
              <a:avLst/>
            </a:prstGeom>
          </p:spPr>
        </p:pic>
        <p:sp>
          <p:nvSpPr>
            <p:cNvPr id="18" name="TextBox 17">
              <a:extLst>
                <a:ext uri="{FF2B5EF4-FFF2-40B4-BE49-F238E27FC236}">
                  <a16:creationId xmlns:a16="http://schemas.microsoft.com/office/drawing/2014/main" id="{1EBD92C5-3144-FA77-9DB8-F36F11EE50AF}"/>
                </a:ext>
              </a:extLst>
            </p:cNvPr>
            <p:cNvSpPr txBox="1"/>
            <p:nvPr/>
          </p:nvSpPr>
          <p:spPr>
            <a:xfrm>
              <a:off x="1015172" y="5610973"/>
              <a:ext cx="2560280" cy="593469"/>
            </a:xfrm>
            <a:prstGeom prst="rect">
              <a:avLst/>
            </a:prstGeom>
            <a:noFill/>
            <a:ln>
              <a:noFill/>
            </a:ln>
          </p:spPr>
          <p:txBody>
            <a:bodyPr wrap="square" lIns="91440" tIns="91440" rIns="90000" bIns="91440" rtlCol="0">
              <a:noAutofit/>
            </a:bodyPr>
            <a:lstStyle/>
            <a:p>
              <a:pPr marR="0" algn="ctr" defTabSz="914400" rtl="0" eaLnBrk="1" fontAlgn="auto" latinLnBrk="0" hangingPunct="1">
                <a:lnSpc>
                  <a:spcPct val="100000"/>
                </a:lnSpc>
                <a:spcBef>
                  <a:spcPts val="0"/>
                </a:spcBef>
                <a:spcAft>
                  <a:spcPts val="0"/>
                </a:spcAft>
                <a:buClrTx/>
                <a:buSzTx/>
                <a:tabLst/>
              </a:pPr>
              <a:r>
                <a:rPr kumimoji="0" lang="en-US" sz="1100" i="0" u="none" strike="noStrike" kern="1200" cap="none" spc="0" normalizeH="0" baseline="0" noProof="0">
                  <a:ln>
                    <a:noFill/>
                  </a:ln>
                  <a:solidFill>
                    <a:schemeClr val="bg1"/>
                  </a:solidFill>
                  <a:effectLst/>
                  <a:uLnTx/>
                  <a:uFillTx/>
                  <a:latin typeface="+mj-lt"/>
                  <a:ea typeface="+mn-ea"/>
                  <a:cs typeface="+mn-cs"/>
                </a:rPr>
                <a:t>GATEWAY</a:t>
              </a:r>
            </a:p>
            <a:p>
              <a:pPr marR="0" algn="ctr" defTabSz="914400" rtl="0" eaLnBrk="1" fontAlgn="auto" latinLnBrk="0" hangingPunct="1">
                <a:lnSpc>
                  <a:spcPct val="100000"/>
                </a:lnSpc>
                <a:spcBef>
                  <a:spcPts val="0"/>
                </a:spcBef>
                <a:spcAft>
                  <a:spcPts val="0"/>
                </a:spcAft>
                <a:buClrTx/>
                <a:buSzTx/>
                <a:tabLst/>
              </a:pPr>
              <a:r>
                <a:rPr lang="en-US" sz="1100">
                  <a:solidFill>
                    <a:schemeClr val="bg1"/>
                  </a:solidFill>
                  <a:latin typeface="Arial"/>
                </a:rPr>
                <a:t>Honeywell Forge Gateway,</a:t>
              </a:r>
            </a:p>
            <a:p>
              <a:pPr marR="0" algn="ctr" defTabSz="914400" rtl="0" eaLnBrk="1" fontAlgn="auto" latinLnBrk="0" hangingPunct="1">
                <a:lnSpc>
                  <a:spcPct val="100000"/>
                </a:lnSpc>
                <a:spcBef>
                  <a:spcPts val="0"/>
                </a:spcBef>
                <a:spcAft>
                  <a:spcPts val="0"/>
                </a:spcAft>
                <a:buClrTx/>
                <a:buSzTx/>
                <a:tabLst/>
              </a:pPr>
              <a:r>
                <a:rPr kumimoji="0" lang="en-US" sz="1100" i="0" u="none" strike="noStrike" kern="1200" cap="none" spc="0" normalizeH="0" baseline="0" noProof="0">
                  <a:ln>
                    <a:noFill/>
                  </a:ln>
                  <a:solidFill>
                    <a:schemeClr val="bg1"/>
                  </a:solidFill>
                  <a:effectLst/>
                  <a:uLnTx/>
                  <a:uFillTx/>
                  <a:latin typeface="Arial"/>
                  <a:ea typeface="+mn-ea"/>
                  <a:cs typeface="+mn-cs"/>
                </a:rPr>
                <a:t>Honeywell Forge Niagara Connect</a:t>
              </a:r>
            </a:p>
          </p:txBody>
        </p:sp>
      </p:grpSp>
      <p:sp>
        <p:nvSpPr>
          <p:cNvPr id="56" name="Rounded Rectangle 105">
            <a:extLst>
              <a:ext uri="{FF2B5EF4-FFF2-40B4-BE49-F238E27FC236}">
                <a16:creationId xmlns:a16="http://schemas.microsoft.com/office/drawing/2014/main" id="{C9D491EE-56F6-DB76-3D81-DCA21D7CAD8B}"/>
              </a:ext>
            </a:extLst>
          </p:cNvPr>
          <p:cNvSpPr/>
          <p:nvPr/>
        </p:nvSpPr>
        <p:spPr>
          <a:xfrm>
            <a:off x="1999498" y="4243507"/>
            <a:ext cx="1479850" cy="566590"/>
          </a:xfrm>
          <a:prstGeom prst="roundRect">
            <a:avLst/>
          </a:prstGeom>
          <a:solidFill>
            <a:schemeClr val="accent3"/>
          </a:solidFill>
          <a:ln w="635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r>
              <a:rPr kumimoji="0" lang="en-GB" sz="1000" i="0" u="none" strike="noStrike" kern="1200" cap="none" spc="0" normalizeH="0" baseline="0" noProof="0">
                <a:ln>
                  <a:noFill/>
                </a:ln>
                <a:solidFill>
                  <a:schemeClr val="bg1"/>
                </a:solidFill>
                <a:effectLst/>
                <a:uLnTx/>
                <a:uFillTx/>
                <a:latin typeface="+mj-lt"/>
                <a:ea typeface="+mn-ea"/>
                <a:cs typeface="+mn-cs"/>
              </a:rPr>
              <a:t>REMOTE ACCESS</a:t>
            </a:r>
            <a:endParaRPr kumimoji="0" lang="en-US" sz="1000" i="0" u="none" strike="noStrike" kern="1200" cap="none" spc="0" normalizeH="0" baseline="0" noProof="0">
              <a:ln>
                <a:noFill/>
              </a:ln>
              <a:solidFill>
                <a:schemeClr val="bg1"/>
              </a:solidFill>
              <a:effectLst/>
              <a:uLnTx/>
              <a:uFillTx/>
              <a:latin typeface="+mj-lt"/>
              <a:ea typeface="+mn-ea"/>
              <a:cs typeface="+mn-cs"/>
            </a:endParaRPr>
          </a:p>
        </p:txBody>
      </p:sp>
      <p:sp>
        <p:nvSpPr>
          <p:cNvPr id="57" name="Rounded Rectangle 105">
            <a:extLst>
              <a:ext uri="{FF2B5EF4-FFF2-40B4-BE49-F238E27FC236}">
                <a16:creationId xmlns:a16="http://schemas.microsoft.com/office/drawing/2014/main" id="{7353FF4F-53AB-ED99-B8E4-32AC2960916E}"/>
              </a:ext>
            </a:extLst>
          </p:cNvPr>
          <p:cNvSpPr/>
          <p:nvPr/>
        </p:nvSpPr>
        <p:spPr>
          <a:xfrm>
            <a:off x="8603680" y="4267014"/>
            <a:ext cx="1574543" cy="566590"/>
          </a:xfrm>
          <a:prstGeom prst="roundRect">
            <a:avLst/>
          </a:prstGeom>
          <a:solidFill>
            <a:schemeClr val="accent3"/>
          </a:solidFill>
          <a:ln w="635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prstClr val="white"/>
                </a:solidFill>
                <a:latin typeface="+mj-lt"/>
              </a:rPr>
              <a:t>OVER THE AIR (OTA) UPDATES </a:t>
            </a:r>
          </a:p>
          <a:p>
            <a:pPr algn="ctr"/>
            <a:r>
              <a:rPr lang="en-GB" sz="1000">
                <a:solidFill>
                  <a:prstClr val="white"/>
                </a:solidFill>
                <a:latin typeface="+mj-lt"/>
              </a:rPr>
              <a:t>(COMING SOON)</a:t>
            </a:r>
            <a:endParaRPr kumimoji="0" lang="en-US" sz="1000" i="0" u="none" strike="noStrike" kern="1200" cap="none" spc="0" normalizeH="0" baseline="0" noProof="0">
              <a:ln>
                <a:noFill/>
              </a:ln>
              <a:solidFill>
                <a:prstClr val="white"/>
              </a:solidFill>
              <a:effectLst/>
              <a:uLnTx/>
              <a:uFillTx/>
              <a:latin typeface="+mj-lt"/>
              <a:ea typeface="+mn-ea"/>
              <a:cs typeface="+mn-cs"/>
            </a:endParaRPr>
          </a:p>
        </p:txBody>
      </p:sp>
      <p:sp>
        <p:nvSpPr>
          <p:cNvPr id="65" name="Rounded Rectangle 105">
            <a:extLst>
              <a:ext uri="{FF2B5EF4-FFF2-40B4-BE49-F238E27FC236}">
                <a16:creationId xmlns:a16="http://schemas.microsoft.com/office/drawing/2014/main" id="{4F05F512-E3FE-C403-03F9-6B9E9F419993}"/>
              </a:ext>
            </a:extLst>
          </p:cNvPr>
          <p:cNvSpPr/>
          <p:nvPr/>
        </p:nvSpPr>
        <p:spPr>
          <a:xfrm>
            <a:off x="5474849" y="4251979"/>
            <a:ext cx="1479850" cy="566590"/>
          </a:xfrm>
          <a:prstGeom prst="roundRect">
            <a:avLst/>
          </a:prstGeom>
          <a:solidFill>
            <a:schemeClr val="accent3"/>
          </a:solidFill>
          <a:ln w="635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r>
              <a:rPr kumimoji="0" lang="en-GB" sz="1000" i="0" u="none" strike="noStrike" kern="1200" cap="none" spc="0" normalizeH="0" baseline="0" noProof="0">
                <a:ln>
                  <a:noFill/>
                </a:ln>
                <a:solidFill>
                  <a:schemeClr val="bg1"/>
                </a:solidFill>
                <a:effectLst/>
                <a:uLnTx/>
                <a:uFillTx/>
                <a:latin typeface="+mj-lt"/>
                <a:ea typeface="+mn-ea"/>
                <a:cs typeface="+mn-cs"/>
              </a:rPr>
              <a:t>CONNECTIVITY</a:t>
            </a:r>
            <a:endParaRPr kumimoji="0" lang="en-US" sz="1000" i="0" u="none" strike="noStrike" kern="1200" cap="none" spc="0" normalizeH="0" baseline="0" noProof="0">
              <a:ln>
                <a:noFill/>
              </a:ln>
              <a:solidFill>
                <a:schemeClr val="bg1"/>
              </a:solidFill>
              <a:effectLst/>
              <a:uLnTx/>
              <a:uFillTx/>
              <a:latin typeface="+mj-lt"/>
              <a:ea typeface="+mn-ea"/>
              <a:cs typeface="+mn-cs"/>
            </a:endParaRPr>
          </a:p>
        </p:txBody>
      </p:sp>
      <p:pic>
        <p:nvPicPr>
          <p:cNvPr id="64" name="Graphic 63" descr="Wi-Fi with solid fill">
            <a:extLst>
              <a:ext uri="{FF2B5EF4-FFF2-40B4-BE49-F238E27FC236}">
                <a16:creationId xmlns:a16="http://schemas.microsoft.com/office/drawing/2014/main" id="{17475AB9-4A3B-F09C-A9E1-B692C7A2C22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868731" y="3652018"/>
            <a:ext cx="704272" cy="704272"/>
          </a:xfrm>
          <a:prstGeom prst="rect">
            <a:avLst/>
          </a:prstGeom>
        </p:spPr>
      </p:pic>
      <p:sp>
        <p:nvSpPr>
          <p:cNvPr id="76" name="Rounded Rectangle 105">
            <a:extLst>
              <a:ext uri="{FF2B5EF4-FFF2-40B4-BE49-F238E27FC236}">
                <a16:creationId xmlns:a16="http://schemas.microsoft.com/office/drawing/2014/main" id="{04EAB6E0-13F5-8C76-3477-0A9566F9458C}"/>
              </a:ext>
            </a:extLst>
          </p:cNvPr>
          <p:cNvSpPr/>
          <p:nvPr/>
        </p:nvSpPr>
        <p:spPr>
          <a:xfrm>
            <a:off x="5076912" y="6352060"/>
            <a:ext cx="1950936" cy="396985"/>
          </a:xfrm>
          <a:prstGeom prst="roundRect">
            <a:avLst/>
          </a:prstGeom>
          <a:noFill/>
          <a:ln w="635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tx1"/>
                </a:solidFill>
                <a:effectLst/>
                <a:uLnTx/>
                <a:uFillTx/>
                <a:latin typeface="+mj-lt"/>
                <a:ea typeface="+mn-ea"/>
                <a:cs typeface="+mn-cs"/>
              </a:rPr>
              <a:t>EXISTING ON-PREMISE INFRUSTRUCTURE</a:t>
            </a:r>
            <a:endParaRPr kumimoji="0" lang="en-US" sz="1000" u="none" strike="noStrike" kern="1200" cap="none" spc="0" normalizeH="0" baseline="0" noProof="0">
              <a:ln>
                <a:noFill/>
              </a:ln>
              <a:solidFill>
                <a:schemeClr val="tx1"/>
              </a:solidFill>
              <a:effectLst/>
              <a:uLnTx/>
              <a:uFillTx/>
              <a:latin typeface="+mj-lt"/>
              <a:ea typeface="+mn-ea"/>
              <a:cs typeface="Arial"/>
            </a:endParaRPr>
          </a:p>
        </p:txBody>
      </p:sp>
      <p:sp>
        <p:nvSpPr>
          <p:cNvPr id="4" name="Title 1">
            <a:extLst>
              <a:ext uri="{FF2B5EF4-FFF2-40B4-BE49-F238E27FC236}">
                <a16:creationId xmlns:a16="http://schemas.microsoft.com/office/drawing/2014/main" id="{D80E7D50-31DE-1F6E-03EF-4E95AC703958}"/>
              </a:ext>
            </a:extLst>
          </p:cNvPr>
          <p:cNvSpPr txBox="1">
            <a:spLocks/>
          </p:cNvSpPr>
          <p:nvPr/>
        </p:nvSpPr>
        <p:spPr>
          <a:xfrm>
            <a:off x="389919" y="176155"/>
            <a:ext cx="11594764" cy="353174"/>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r>
              <a:rPr lang="en-US" sz="2800"/>
              <a:t>TECHNICAL ARCHITECTURE</a:t>
            </a:r>
          </a:p>
        </p:txBody>
      </p:sp>
    </p:spTree>
    <p:extLst>
      <p:ext uri="{BB962C8B-B14F-4D97-AF65-F5344CB8AC3E}">
        <p14:creationId xmlns:p14="http://schemas.microsoft.com/office/powerpoint/2010/main" val="222725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CD4ED-90C3-FE9B-CCB2-71657D994EA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B56F19F-4AF0-2347-C1DB-7735851EC914}"/>
              </a:ext>
            </a:extLst>
          </p:cNvPr>
          <p:cNvSpPr>
            <a:spLocks noGrp="1"/>
          </p:cNvSpPr>
          <p:nvPr>
            <p:ph type="title"/>
          </p:nvPr>
        </p:nvSpPr>
        <p:spPr>
          <a:xfrm>
            <a:off x="557784" y="347472"/>
            <a:ext cx="5596514" cy="353174"/>
          </a:xfrm>
        </p:spPr>
        <p:txBody>
          <a:bodyPr/>
          <a:lstStyle/>
          <a:p>
            <a:r>
              <a:rPr lang="en-GB" sz="2800"/>
              <a:t>Customer journey</a:t>
            </a:r>
          </a:p>
        </p:txBody>
      </p:sp>
      <p:sp>
        <p:nvSpPr>
          <p:cNvPr id="4" name="Slide Number Placeholder 3">
            <a:extLst>
              <a:ext uri="{FF2B5EF4-FFF2-40B4-BE49-F238E27FC236}">
                <a16:creationId xmlns:a16="http://schemas.microsoft.com/office/drawing/2014/main" id="{1FFD20E2-E281-3C6A-985A-BA85A5CD4A4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8" name="Text Placeholder 17">
            <a:extLst>
              <a:ext uri="{FF2B5EF4-FFF2-40B4-BE49-F238E27FC236}">
                <a16:creationId xmlns:a16="http://schemas.microsoft.com/office/drawing/2014/main" id="{D87E620D-44EB-E5AF-995C-F891094DE405}"/>
              </a:ext>
            </a:extLst>
          </p:cNvPr>
          <p:cNvSpPr>
            <a:spLocks noGrp="1"/>
          </p:cNvSpPr>
          <p:nvPr>
            <p:ph type="body" sz="quarter" idx="16"/>
          </p:nvPr>
        </p:nvSpPr>
        <p:spPr>
          <a:xfrm>
            <a:off x="-1" y="5835316"/>
            <a:ext cx="12192000" cy="524975"/>
          </a:xfrm>
        </p:spPr>
        <p:txBody>
          <a:bodyPr/>
          <a:lstStyle/>
          <a:p>
            <a:r>
              <a:rPr lang="en-GB">
                <a:latin typeface="+mj-lt"/>
              </a:rPr>
              <a:t>SELF-SERVICE CUSTOMER JOURNEY</a:t>
            </a:r>
          </a:p>
        </p:txBody>
      </p:sp>
      <p:sp>
        <p:nvSpPr>
          <p:cNvPr id="68" name="Freeform 44">
            <a:extLst>
              <a:ext uri="{FF2B5EF4-FFF2-40B4-BE49-F238E27FC236}">
                <a16:creationId xmlns:a16="http://schemas.microsoft.com/office/drawing/2014/main" id="{806D515A-CA8F-9E89-A2DB-F27423757EA2}"/>
              </a:ext>
            </a:extLst>
          </p:cNvPr>
          <p:cNvSpPr/>
          <p:nvPr/>
        </p:nvSpPr>
        <p:spPr>
          <a:xfrm>
            <a:off x="1291718" y="1733550"/>
            <a:ext cx="1623833" cy="1419434"/>
          </a:xfrm>
          <a:custGeom>
            <a:avLst/>
            <a:gdLst>
              <a:gd name="connsiteX0" fmla="*/ 0 w 1571625"/>
              <a:gd name="connsiteY0" fmla="*/ 206070 h 1373798"/>
              <a:gd name="connsiteX1" fmla="*/ 884726 w 1571625"/>
              <a:gd name="connsiteY1" fmla="*/ 206070 h 1373798"/>
              <a:gd name="connsiteX2" fmla="*/ 884726 w 1571625"/>
              <a:gd name="connsiteY2" fmla="*/ 0 h 1373798"/>
              <a:gd name="connsiteX3" fmla="*/ 1571625 w 1571625"/>
              <a:gd name="connsiteY3" fmla="*/ 686899 h 1373798"/>
              <a:gd name="connsiteX4" fmla="*/ 884726 w 1571625"/>
              <a:gd name="connsiteY4" fmla="*/ 1373798 h 1373798"/>
              <a:gd name="connsiteX5" fmla="*/ 884726 w 1571625"/>
              <a:gd name="connsiteY5" fmla="*/ 1167728 h 1373798"/>
              <a:gd name="connsiteX6" fmla="*/ 0 w 1571625"/>
              <a:gd name="connsiteY6" fmla="*/ 1167728 h 1373798"/>
              <a:gd name="connsiteX7" fmla="*/ 0 w 1571625"/>
              <a:gd name="connsiteY7" fmla="*/ 206070 h 1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5" h="1373798">
                <a:moveTo>
                  <a:pt x="0" y="206070"/>
                </a:moveTo>
                <a:lnTo>
                  <a:pt x="884726" y="206070"/>
                </a:lnTo>
                <a:lnTo>
                  <a:pt x="884726" y="0"/>
                </a:lnTo>
                <a:lnTo>
                  <a:pt x="1571625" y="686899"/>
                </a:lnTo>
                <a:lnTo>
                  <a:pt x="884726" y="1373798"/>
                </a:lnTo>
                <a:lnTo>
                  <a:pt x="884726" y="1167728"/>
                </a:lnTo>
                <a:lnTo>
                  <a:pt x="0" y="1167728"/>
                </a:lnTo>
                <a:lnTo>
                  <a:pt x="0" y="206070"/>
                </a:lnTo>
                <a:close/>
              </a:path>
            </a:pathLst>
          </a:custGeom>
          <a:solidFill>
            <a:schemeClr val="accent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38627" tIns="217500" rIns="435411" bIns="21750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None/>
              <a:tabLst/>
              <a:defRPr/>
            </a:pPr>
            <a:r>
              <a:rPr kumimoji="0" lang="en-US" sz="4800" b="0" i="0" u="none" strike="noStrike" kern="1200" cap="none" spc="0" normalizeH="0" baseline="0" noProof="0">
                <a:ln>
                  <a:noFill/>
                </a:ln>
                <a:solidFill>
                  <a:prstClr val="white"/>
                </a:solidFill>
                <a:effectLst/>
                <a:uLnTx/>
                <a:uFillTx/>
                <a:latin typeface="FontAwesome" pitchFamily="2" charset="0"/>
                <a:ea typeface="+mn-ea"/>
                <a:cs typeface="+mn-cs"/>
              </a:rPr>
              <a:t> </a:t>
            </a:r>
            <a:endParaRPr kumimoji="0" lang="en-US" sz="4800" b="0" i="0" u="none" strike="noStrike" kern="1200" cap="none" spc="0" normalizeH="0" baseline="0" noProof="0">
              <a:ln>
                <a:noFill/>
              </a:ln>
              <a:solidFill>
                <a:srgbClr val="DC202E">
                  <a:lumMod val="75000"/>
                </a:srgbClr>
              </a:solidFill>
              <a:effectLst/>
              <a:uLnTx/>
              <a:uFillTx/>
              <a:latin typeface="Arial"/>
              <a:ea typeface="+mn-ea"/>
              <a:cs typeface="+mn-cs"/>
            </a:endParaRPr>
          </a:p>
        </p:txBody>
      </p:sp>
      <p:grpSp>
        <p:nvGrpSpPr>
          <p:cNvPr id="69" name="Group 134">
            <a:extLst>
              <a:ext uri="{FF2B5EF4-FFF2-40B4-BE49-F238E27FC236}">
                <a16:creationId xmlns:a16="http://schemas.microsoft.com/office/drawing/2014/main" id="{79F95127-FFA1-D15A-A8B0-B61AB029DC45}"/>
              </a:ext>
            </a:extLst>
          </p:cNvPr>
          <p:cNvGrpSpPr>
            <a:grpSpLocks noChangeAspect="1"/>
          </p:cNvGrpSpPr>
          <p:nvPr/>
        </p:nvGrpSpPr>
        <p:grpSpPr>
          <a:xfrm>
            <a:off x="889693" y="2040906"/>
            <a:ext cx="804050" cy="804723"/>
            <a:chOff x="3287425" y="1417883"/>
            <a:chExt cx="648499" cy="649042"/>
          </a:xfrm>
        </p:grpSpPr>
        <p:sp>
          <p:nvSpPr>
            <p:cNvPr id="70" name="Oval 69">
              <a:extLst>
                <a:ext uri="{FF2B5EF4-FFF2-40B4-BE49-F238E27FC236}">
                  <a16:creationId xmlns:a16="http://schemas.microsoft.com/office/drawing/2014/main" id="{3D72B303-E678-A535-CC95-E220AFF14BD3}"/>
                </a:ext>
              </a:extLst>
            </p:cNvPr>
            <p:cNvSpPr>
              <a:spLocks noChangeAspect="1"/>
            </p:cNvSpPr>
            <p:nvPr/>
          </p:nvSpPr>
          <p:spPr>
            <a:xfrm>
              <a:off x="3287425" y="1417883"/>
              <a:ext cx="648499" cy="64904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Black"/>
                <a:ea typeface="+mn-ea"/>
                <a:cs typeface="+mn-cs"/>
              </a:endParaRPr>
            </a:p>
          </p:txBody>
        </p:sp>
        <p:sp>
          <p:nvSpPr>
            <p:cNvPr id="71" name="Oval 70">
              <a:extLst>
                <a:ext uri="{FF2B5EF4-FFF2-40B4-BE49-F238E27FC236}">
                  <a16:creationId xmlns:a16="http://schemas.microsoft.com/office/drawing/2014/main" id="{0B2CE132-902C-3EE3-A3BD-318C9CF98DA0}"/>
                </a:ext>
              </a:extLst>
            </p:cNvPr>
            <p:cNvSpPr>
              <a:spLocks noChangeAspect="1"/>
            </p:cNvSpPr>
            <p:nvPr/>
          </p:nvSpPr>
          <p:spPr>
            <a:xfrm>
              <a:off x="3362252" y="1492773"/>
              <a:ext cx="498845" cy="49926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01</a:t>
              </a:r>
              <a:endParaRPr kumimoji="0" lang="en-US" sz="1600" b="1" i="0" u="none" strike="noStrike" kern="1200" cap="none" spc="0" normalizeH="0" baseline="0" noProof="0">
                <a:ln>
                  <a:noFill/>
                </a:ln>
                <a:solidFill>
                  <a:prstClr val="white"/>
                </a:solidFill>
                <a:effectLst/>
                <a:uLnTx/>
                <a:uFillTx/>
                <a:latin typeface="Arial Black"/>
                <a:ea typeface="+mn-ea"/>
                <a:cs typeface="+mn-cs"/>
              </a:endParaRPr>
            </a:p>
          </p:txBody>
        </p:sp>
      </p:grpSp>
      <p:sp>
        <p:nvSpPr>
          <p:cNvPr id="72" name="Freeform 45">
            <a:extLst>
              <a:ext uri="{FF2B5EF4-FFF2-40B4-BE49-F238E27FC236}">
                <a16:creationId xmlns:a16="http://schemas.microsoft.com/office/drawing/2014/main" id="{F85F5067-C9B5-4BF2-3FB7-2290771D42DC}"/>
              </a:ext>
            </a:extLst>
          </p:cNvPr>
          <p:cNvSpPr/>
          <p:nvPr/>
        </p:nvSpPr>
        <p:spPr>
          <a:xfrm>
            <a:off x="4013583" y="1733550"/>
            <a:ext cx="1623833" cy="1419434"/>
          </a:xfrm>
          <a:custGeom>
            <a:avLst/>
            <a:gdLst>
              <a:gd name="connsiteX0" fmla="*/ 0 w 1571625"/>
              <a:gd name="connsiteY0" fmla="*/ 206070 h 1373798"/>
              <a:gd name="connsiteX1" fmla="*/ 884726 w 1571625"/>
              <a:gd name="connsiteY1" fmla="*/ 206070 h 1373798"/>
              <a:gd name="connsiteX2" fmla="*/ 884726 w 1571625"/>
              <a:gd name="connsiteY2" fmla="*/ 0 h 1373798"/>
              <a:gd name="connsiteX3" fmla="*/ 1571625 w 1571625"/>
              <a:gd name="connsiteY3" fmla="*/ 686899 h 1373798"/>
              <a:gd name="connsiteX4" fmla="*/ 884726 w 1571625"/>
              <a:gd name="connsiteY4" fmla="*/ 1373798 h 1373798"/>
              <a:gd name="connsiteX5" fmla="*/ 884726 w 1571625"/>
              <a:gd name="connsiteY5" fmla="*/ 1167728 h 1373798"/>
              <a:gd name="connsiteX6" fmla="*/ 0 w 1571625"/>
              <a:gd name="connsiteY6" fmla="*/ 1167728 h 1373798"/>
              <a:gd name="connsiteX7" fmla="*/ 0 w 1571625"/>
              <a:gd name="connsiteY7" fmla="*/ 206070 h 1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5" h="1373798">
                <a:moveTo>
                  <a:pt x="0" y="206070"/>
                </a:moveTo>
                <a:lnTo>
                  <a:pt x="884726" y="206070"/>
                </a:lnTo>
                <a:lnTo>
                  <a:pt x="884726" y="0"/>
                </a:lnTo>
                <a:lnTo>
                  <a:pt x="1571625" y="686899"/>
                </a:lnTo>
                <a:lnTo>
                  <a:pt x="884726" y="1373798"/>
                </a:lnTo>
                <a:lnTo>
                  <a:pt x="884726" y="1167728"/>
                </a:lnTo>
                <a:lnTo>
                  <a:pt x="0" y="1167728"/>
                </a:lnTo>
                <a:lnTo>
                  <a:pt x="0" y="206070"/>
                </a:lnTo>
                <a:close/>
              </a:path>
            </a:pathLst>
          </a:custGeom>
          <a:solidFill>
            <a:schemeClr val="accent2">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38626" tIns="217500" rIns="435412" bIns="21750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None/>
              <a:tabLst/>
              <a:defRPr/>
            </a:pPr>
            <a:r>
              <a:rPr kumimoji="0" lang="en-US" sz="3600" b="0" i="0" u="none" strike="noStrike" kern="1200" cap="none" spc="0" normalizeH="0" baseline="0" noProof="0">
                <a:ln>
                  <a:noFill/>
                </a:ln>
                <a:solidFill>
                  <a:prstClr val="white"/>
                </a:solidFill>
                <a:effectLst/>
                <a:uLnTx/>
                <a:uFillTx/>
                <a:latin typeface="FontAwesome" pitchFamily="2" charset="0"/>
                <a:ea typeface="+mn-ea"/>
                <a:cs typeface="+mn-cs"/>
              </a:rPr>
              <a:t> </a:t>
            </a:r>
            <a:endParaRPr kumimoji="0" lang="en-US" sz="3600" b="0" i="0" u="none" strike="noStrike" kern="1200" cap="none" spc="0" normalizeH="0" baseline="0" noProof="0">
              <a:ln>
                <a:noFill/>
              </a:ln>
              <a:solidFill>
                <a:srgbClr val="404040">
                  <a:lumMod val="50000"/>
                </a:srgbClr>
              </a:solidFill>
              <a:effectLst/>
              <a:uLnTx/>
              <a:uFillTx/>
              <a:latin typeface="Arial"/>
              <a:ea typeface="+mn-ea"/>
              <a:cs typeface="+mn-cs"/>
            </a:endParaRPr>
          </a:p>
        </p:txBody>
      </p:sp>
      <p:grpSp>
        <p:nvGrpSpPr>
          <p:cNvPr id="73" name="Group 129">
            <a:extLst>
              <a:ext uri="{FF2B5EF4-FFF2-40B4-BE49-F238E27FC236}">
                <a16:creationId xmlns:a16="http://schemas.microsoft.com/office/drawing/2014/main" id="{055722E1-0871-8001-5C1E-619B919FE68B}"/>
              </a:ext>
            </a:extLst>
          </p:cNvPr>
          <p:cNvGrpSpPr>
            <a:grpSpLocks noChangeAspect="1"/>
          </p:cNvGrpSpPr>
          <p:nvPr/>
        </p:nvGrpSpPr>
        <p:grpSpPr>
          <a:xfrm>
            <a:off x="3611558" y="2040906"/>
            <a:ext cx="804050" cy="804723"/>
            <a:chOff x="2779491" y="2517212"/>
            <a:chExt cx="648499" cy="649042"/>
          </a:xfrm>
        </p:grpSpPr>
        <p:sp>
          <p:nvSpPr>
            <p:cNvPr id="74" name="Oval 73">
              <a:extLst>
                <a:ext uri="{FF2B5EF4-FFF2-40B4-BE49-F238E27FC236}">
                  <a16:creationId xmlns:a16="http://schemas.microsoft.com/office/drawing/2014/main" id="{9E5D8BFA-5F5E-16B5-816E-142AF50FD931}"/>
                </a:ext>
              </a:extLst>
            </p:cNvPr>
            <p:cNvSpPr>
              <a:spLocks noChangeAspect="1"/>
            </p:cNvSpPr>
            <p:nvPr/>
          </p:nvSpPr>
          <p:spPr>
            <a:xfrm>
              <a:off x="2779491" y="2517212"/>
              <a:ext cx="648499" cy="64904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Black"/>
                <a:ea typeface="+mn-ea"/>
                <a:cs typeface="+mn-cs"/>
              </a:endParaRPr>
            </a:p>
          </p:txBody>
        </p:sp>
        <p:sp>
          <p:nvSpPr>
            <p:cNvPr id="75" name="Oval 74">
              <a:extLst>
                <a:ext uri="{FF2B5EF4-FFF2-40B4-BE49-F238E27FC236}">
                  <a16:creationId xmlns:a16="http://schemas.microsoft.com/office/drawing/2014/main" id="{B6C8E70E-D953-CE5D-4E9D-39D3A4EE8E8F}"/>
                </a:ext>
              </a:extLst>
            </p:cNvPr>
            <p:cNvSpPr>
              <a:spLocks noChangeAspect="1"/>
            </p:cNvSpPr>
            <p:nvPr/>
          </p:nvSpPr>
          <p:spPr>
            <a:xfrm>
              <a:off x="2854318" y="2592102"/>
              <a:ext cx="498845" cy="499263"/>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02</a:t>
              </a:r>
              <a:endParaRPr kumimoji="0" lang="en-US" sz="1800" b="1" i="0" u="none" strike="noStrike" kern="1200" cap="none" spc="0" normalizeH="0" baseline="0" noProof="0">
                <a:ln>
                  <a:noFill/>
                </a:ln>
                <a:solidFill>
                  <a:prstClr val="white"/>
                </a:solidFill>
                <a:effectLst/>
                <a:uLnTx/>
                <a:uFillTx/>
                <a:latin typeface="Arial Black"/>
                <a:ea typeface="+mn-ea"/>
                <a:cs typeface="+mn-cs"/>
              </a:endParaRPr>
            </a:p>
          </p:txBody>
        </p:sp>
      </p:grpSp>
      <p:sp>
        <p:nvSpPr>
          <p:cNvPr id="76" name="Freeform 46">
            <a:extLst>
              <a:ext uri="{FF2B5EF4-FFF2-40B4-BE49-F238E27FC236}">
                <a16:creationId xmlns:a16="http://schemas.microsoft.com/office/drawing/2014/main" id="{8619AA85-805D-754C-7AD9-6DF80EE5092D}"/>
              </a:ext>
            </a:extLst>
          </p:cNvPr>
          <p:cNvSpPr/>
          <p:nvPr/>
        </p:nvSpPr>
        <p:spPr>
          <a:xfrm>
            <a:off x="6885449" y="1690561"/>
            <a:ext cx="1623833" cy="1419434"/>
          </a:xfrm>
          <a:custGeom>
            <a:avLst/>
            <a:gdLst>
              <a:gd name="connsiteX0" fmla="*/ 0 w 1571625"/>
              <a:gd name="connsiteY0" fmla="*/ 206070 h 1373798"/>
              <a:gd name="connsiteX1" fmla="*/ 884726 w 1571625"/>
              <a:gd name="connsiteY1" fmla="*/ 206070 h 1373798"/>
              <a:gd name="connsiteX2" fmla="*/ 884726 w 1571625"/>
              <a:gd name="connsiteY2" fmla="*/ 0 h 1373798"/>
              <a:gd name="connsiteX3" fmla="*/ 1571625 w 1571625"/>
              <a:gd name="connsiteY3" fmla="*/ 686899 h 1373798"/>
              <a:gd name="connsiteX4" fmla="*/ 884726 w 1571625"/>
              <a:gd name="connsiteY4" fmla="*/ 1373798 h 1373798"/>
              <a:gd name="connsiteX5" fmla="*/ 884726 w 1571625"/>
              <a:gd name="connsiteY5" fmla="*/ 1167728 h 1373798"/>
              <a:gd name="connsiteX6" fmla="*/ 0 w 1571625"/>
              <a:gd name="connsiteY6" fmla="*/ 1167728 h 1373798"/>
              <a:gd name="connsiteX7" fmla="*/ 0 w 1571625"/>
              <a:gd name="connsiteY7" fmla="*/ 206070 h 1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5" h="1373798">
                <a:moveTo>
                  <a:pt x="0" y="206070"/>
                </a:moveTo>
                <a:lnTo>
                  <a:pt x="884726" y="206070"/>
                </a:lnTo>
                <a:lnTo>
                  <a:pt x="884726" y="0"/>
                </a:lnTo>
                <a:lnTo>
                  <a:pt x="1571625" y="686899"/>
                </a:lnTo>
                <a:lnTo>
                  <a:pt x="884726" y="1373798"/>
                </a:lnTo>
                <a:lnTo>
                  <a:pt x="884726" y="1167728"/>
                </a:lnTo>
                <a:lnTo>
                  <a:pt x="0" y="1167728"/>
                </a:lnTo>
                <a:lnTo>
                  <a:pt x="0" y="206070"/>
                </a:lnTo>
                <a:close/>
              </a:path>
            </a:pathLst>
          </a:custGeom>
          <a:solidFill>
            <a:schemeClr val="accent3">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38626" tIns="217500" rIns="435412" bIns="21750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None/>
              <a:tabLst/>
              <a:defRPr/>
            </a:pPr>
            <a:r>
              <a:rPr kumimoji="0" lang="en-US" sz="3600" b="0" i="0" u="none" strike="noStrike" kern="1200" cap="none" spc="0" normalizeH="0" baseline="0" noProof="0">
                <a:ln>
                  <a:noFill/>
                </a:ln>
                <a:solidFill>
                  <a:prstClr val="white"/>
                </a:solidFill>
                <a:effectLst/>
                <a:uLnTx/>
                <a:uFillTx/>
                <a:latin typeface="FontAwesome" pitchFamily="2" charset="0"/>
                <a:ea typeface="+mn-ea"/>
                <a:cs typeface="+mn-cs"/>
              </a:rPr>
              <a:t> </a:t>
            </a:r>
            <a:endParaRPr kumimoji="0" lang="en-US" sz="3600" b="0" i="0" u="none" strike="noStrike" kern="1200" cap="none" spc="0" normalizeH="0" baseline="0" noProof="0">
              <a:ln>
                <a:noFill/>
              </a:ln>
              <a:solidFill>
                <a:srgbClr val="707070">
                  <a:lumMod val="75000"/>
                </a:srgbClr>
              </a:solidFill>
              <a:effectLst/>
              <a:uLnTx/>
              <a:uFillTx/>
              <a:latin typeface="Arial"/>
              <a:ea typeface="+mn-ea"/>
              <a:cs typeface="+mn-cs"/>
            </a:endParaRPr>
          </a:p>
        </p:txBody>
      </p:sp>
      <p:grpSp>
        <p:nvGrpSpPr>
          <p:cNvPr id="77" name="Group 130">
            <a:extLst>
              <a:ext uri="{FF2B5EF4-FFF2-40B4-BE49-F238E27FC236}">
                <a16:creationId xmlns:a16="http://schemas.microsoft.com/office/drawing/2014/main" id="{A0BB8C0F-65D4-052C-12E1-80E719C19930}"/>
              </a:ext>
            </a:extLst>
          </p:cNvPr>
          <p:cNvGrpSpPr>
            <a:grpSpLocks noChangeAspect="1"/>
          </p:cNvGrpSpPr>
          <p:nvPr/>
        </p:nvGrpSpPr>
        <p:grpSpPr>
          <a:xfrm>
            <a:off x="6505709" y="2040906"/>
            <a:ext cx="804050" cy="804723"/>
            <a:chOff x="3287425" y="3613920"/>
            <a:chExt cx="648499" cy="649042"/>
          </a:xfrm>
        </p:grpSpPr>
        <p:sp>
          <p:nvSpPr>
            <p:cNvPr id="78" name="Oval 77">
              <a:extLst>
                <a:ext uri="{FF2B5EF4-FFF2-40B4-BE49-F238E27FC236}">
                  <a16:creationId xmlns:a16="http://schemas.microsoft.com/office/drawing/2014/main" id="{0858A45F-6BF5-77E2-7AD5-01AF366BEAE6}"/>
                </a:ext>
              </a:extLst>
            </p:cNvPr>
            <p:cNvSpPr>
              <a:spLocks noChangeAspect="1"/>
            </p:cNvSpPr>
            <p:nvPr/>
          </p:nvSpPr>
          <p:spPr>
            <a:xfrm>
              <a:off x="3287425" y="3613920"/>
              <a:ext cx="648499" cy="64904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Black"/>
                <a:ea typeface="+mn-ea"/>
                <a:cs typeface="+mn-cs"/>
              </a:endParaRPr>
            </a:p>
          </p:txBody>
        </p:sp>
        <p:sp>
          <p:nvSpPr>
            <p:cNvPr id="79" name="Oval 78">
              <a:extLst>
                <a:ext uri="{FF2B5EF4-FFF2-40B4-BE49-F238E27FC236}">
                  <a16:creationId xmlns:a16="http://schemas.microsoft.com/office/drawing/2014/main" id="{02910B14-698F-1365-CCB4-96988603D431}"/>
                </a:ext>
              </a:extLst>
            </p:cNvPr>
            <p:cNvSpPr>
              <a:spLocks noChangeAspect="1"/>
            </p:cNvSpPr>
            <p:nvPr/>
          </p:nvSpPr>
          <p:spPr>
            <a:xfrm>
              <a:off x="3362252" y="3688810"/>
              <a:ext cx="498845" cy="499263"/>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03</a:t>
              </a:r>
              <a:endParaRPr kumimoji="0" lang="en-US" sz="1800" b="1" i="0" u="none" strike="noStrike" kern="1200" cap="none" spc="0" normalizeH="0" baseline="0" noProof="0">
                <a:ln>
                  <a:noFill/>
                </a:ln>
                <a:solidFill>
                  <a:prstClr val="white"/>
                </a:solidFill>
                <a:effectLst/>
                <a:uLnTx/>
                <a:uFillTx/>
                <a:latin typeface="Arial Black"/>
                <a:ea typeface="+mn-ea"/>
                <a:cs typeface="+mn-cs"/>
              </a:endParaRPr>
            </a:p>
          </p:txBody>
        </p:sp>
      </p:grpSp>
      <p:sp>
        <p:nvSpPr>
          <p:cNvPr id="80" name="Freeform 47">
            <a:extLst>
              <a:ext uri="{FF2B5EF4-FFF2-40B4-BE49-F238E27FC236}">
                <a16:creationId xmlns:a16="http://schemas.microsoft.com/office/drawing/2014/main" id="{D84DCBD7-BC22-23AB-A50A-2086DCA346CD}"/>
              </a:ext>
            </a:extLst>
          </p:cNvPr>
          <p:cNvSpPr/>
          <p:nvPr/>
        </p:nvSpPr>
        <p:spPr>
          <a:xfrm>
            <a:off x="9626209" y="1733550"/>
            <a:ext cx="1623833" cy="1419434"/>
          </a:xfrm>
          <a:custGeom>
            <a:avLst/>
            <a:gdLst>
              <a:gd name="connsiteX0" fmla="*/ 0 w 1571625"/>
              <a:gd name="connsiteY0" fmla="*/ 206070 h 1373798"/>
              <a:gd name="connsiteX1" fmla="*/ 884726 w 1571625"/>
              <a:gd name="connsiteY1" fmla="*/ 206070 h 1373798"/>
              <a:gd name="connsiteX2" fmla="*/ 884726 w 1571625"/>
              <a:gd name="connsiteY2" fmla="*/ 0 h 1373798"/>
              <a:gd name="connsiteX3" fmla="*/ 1571625 w 1571625"/>
              <a:gd name="connsiteY3" fmla="*/ 686899 h 1373798"/>
              <a:gd name="connsiteX4" fmla="*/ 884726 w 1571625"/>
              <a:gd name="connsiteY4" fmla="*/ 1373798 h 1373798"/>
              <a:gd name="connsiteX5" fmla="*/ 884726 w 1571625"/>
              <a:gd name="connsiteY5" fmla="*/ 1167728 h 1373798"/>
              <a:gd name="connsiteX6" fmla="*/ 0 w 1571625"/>
              <a:gd name="connsiteY6" fmla="*/ 1167728 h 1373798"/>
              <a:gd name="connsiteX7" fmla="*/ 0 w 1571625"/>
              <a:gd name="connsiteY7" fmla="*/ 206070 h 1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5" h="1373798">
                <a:moveTo>
                  <a:pt x="0" y="206070"/>
                </a:moveTo>
                <a:lnTo>
                  <a:pt x="884726" y="206070"/>
                </a:lnTo>
                <a:lnTo>
                  <a:pt x="884726" y="0"/>
                </a:lnTo>
                <a:lnTo>
                  <a:pt x="1571625" y="686899"/>
                </a:lnTo>
                <a:lnTo>
                  <a:pt x="884726" y="1373798"/>
                </a:lnTo>
                <a:lnTo>
                  <a:pt x="884726" y="1167728"/>
                </a:lnTo>
                <a:lnTo>
                  <a:pt x="0" y="1167728"/>
                </a:lnTo>
                <a:lnTo>
                  <a:pt x="0" y="206070"/>
                </a:lnTo>
                <a:close/>
              </a:path>
            </a:pathLst>
          </a:custGeom>
          <a:solidFill>
            <a:schemeClr val="accent4">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38626" tIns="217500" rIns="435412" bIns="21750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None/>
              <a:tabLst/>
              <a:defRPr/>
            </a:pPr>
            <a:r>
              <a:rPr kumimoji="0" lang="en-US" sz="3200" b="0" i="0" u="none" strike="noStrike" kern="1200" cap="none" spc="0" normalizeH="0" baseline="0" noProof="0">
                <a:ln>
                  <a:noFill/>
                </a:ln>
                <a:solidFill>
                  <a:prstClr val="white"/>
                </a:solidFill>
                <a:effectLst/>
                <a:uLnTx/>
                <a:uFillTx/>
                <a:latin typeface="FontAwesome" pitchFamily="2" charset="0"/>
                <a:ea typeface="+mn-ea"/>
                <a:cs typeface="+mn-cs"/>
              </a:rPr>
              <a:t> </a:t>
            </a:r>
            <a:endParaRPr kumimoji="0" lang="en-US" sz="3200" b="0" i="0" u="none" strike="noStrike" kern="1200" cap="none" spc="0" normalizeH="0" baseline="0" noProof="0">
              <a:ln>
                <a:noFill/>
              </a:ln>
              <a:solidFill>
                <a:srgbClr val="A0A0A0">
                  <a:lumMod val="75000"/>
                </a:srgbClr>
              </a:solidFill>
              <a:effectLst/>
              <a:uLnTx/>
              <a:uFillTx/>
              <a:latin typeface="Arial"/>
              <a:ea typeface="+mn-ea"/>
              <a:cs typeface="+mn-cs"/>
            </a:endParaRPr>
          </a:p>
        </p:txBody>
      </p:sp>
      <p:grpSp>
        <p:nvGrpSpPr>
          <p:cNvPr id="81" name="Group 133">
            <a:extLst>
              <a:ext uri="{FF2B5EF4-FFF2-40B4-BE49-F238E27FC236}">
                <a16:creationId xmlns:a16="http://schemas.microsoft.com/office/drawing/2014/main" id="{CFC8D55F-E715-74C5-6F1B-E593A6388DB6}"/>
              </a:ext>
            </a:extLst>
          </p:cNvPr>
          <p:cNvGrpSpPr>
            <a:grpSpLocks noChangeAspect="1"/>
          </p:cNvGrpSpPr>
          <p:nvPr/>
        </p:nvGrpSpPr>
        <p:grpSpPr>
          <a:xfrm>
            <a:off x="9293839" y="2040906"/>
            <a:ext cx="804050" cy="804723"/>
            <a:chOff x="5249342" y="1406453"/>
            <a:chExt cx="648499" cy="649042"/>
          </a:xfrm>
        </p:grpSpPr>
        <p:sp>
          <p:nvSpPr>
            <p:cNvPr id="82" name="Oval 81">
              <a:extLst>
                <a:ext uri="{FF2B5EF4-FFF2-40B4-BE49-F238E27FC236}">
                  <a16:creationId xmlns:a16="http://schemas.microsoft.com/office/drawing/2014/main" id="{2D6E6328-1C6E-A3BD-54C7-333C79B83576}"/>
                </a:ext>
              </a:extLst>
            </p:cNvPr>
            <p:cNvSpPr>
              <a:spLocks noChangeAspect="1"/>
            </p:cNvSpPr>
            <p:nvPr/>
          </p:nvSpPr>
          <p:spPr>
            <a:xfrm>
              <a:off x="5249342" y="1406453"/>
              <a:ext cx="648499" cy="64904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Black"/>
                <a:ea typeface="+mn-ea"/>
                <a:cs typeface="+mn-cs"/>
              </a:endParaRPr>
            </a:p>
          </p:txBody>
        </p:sp>
        <p:sp>
          <p:nvSpPr>
            <p:cNvPr id="83" name="Oval 82">
              <a:extLst>
                <a:ext uri="{FF2B5EF4-FFF2-40B4-BE49-F238E27FC236}">
                  <a16:creationId xmlns:a16="http://schemas.microsoft.com/office/drawing/2014/main" id="{7D3B2639-A552-030B-C6FF-5F4174241FB2}"/>
                </a:ext>
              </a:extLst>
            </p:cNvPr>
            <p:cNvSpPr>
              <a:spLocks noChangeAspect="1"/>
            </p:cNvSpPr>
            <p:nvPr/>
          </p:nvSpPr>
          <p:spPr>
            <a:xfrm>
              <a:off x="5324169" y="1481343"/>
              <a:ext cx="498845" cy="499263"/>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04</a:t>
              </a:r>
              <a:endParaRPr kumimoji="0" lang="en-US" sz="1800" b="1" i="0" u="none" strike="noStrike" kern="1200" cap="none" spc="0" normalizeH="0" baseline="0" noProof="0">
                <a:ln>
                  <a:noFill/>
                </a:ln>
                <a:solidFill>
                  <a:prstClr val="white"/>
                </a:solidFill>
                <a:effectLst/>
                <a:uLnTx/>
                <a:uFillTx/>
                <a:latin typeface="Arial Black"/>
                <a:ea typeface="+mn-ea"/>
                <a:cs typeface="+mn-cs"/>
              </a:endParaRPr>
            </a:p>
          </p:txBody>
        </p:sp>
      </p:grpSp>
      <p:sp>
        <p:nvSpPr>
          <p:cNvPr id="84" name="Inhaltsplatzhalter 4">
            <a:extLst>
              <a:ext uri="{FF2B5EF4-FFF2-40B4-BE49-F238E27FC236}">
                <a16:creationId xmlns:a16="http://schemas.microsoft.com/office/drawing/2014/main" id="{78F5206D-2A59-C2F1-AD9A-4C2784F432C5}"/>
              </a:ext>
            </a:extLst>
          </p:cNvPr>
          <p:cNvSpPr txBox="1">
            <a:spLocks/>
          </p:cNvSpPr>
          <p:nvPr/>
        </p:nvSpPr>
        <p:spPr>
          <a:xfrm>
            <a:off x="715616" y="3603129"/>
            <a:ext cx="2241609" cy="1456809"/>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50000"/>
              </a:lnSpc>
              <a:spcBef>
                <a:spcPts val="0"/>
              </a:spcBef>
              <a:spcAft>
                <a:spcPts val="1000"/>
              </a:spcAft>
              <a:buClrTx/>
              <a:buSzTx/>
              <a:buFont typeface="Wingdings" panose="05000000000000000000" pitchFamily="2" charset="2"/>
              <a:buNone/>
              <a:tabLst/>
              <a:defRPr/>
            </a:pPr>
            <a:r>
              <a:rPr kumimoji="0" lang="en-US" sz="2000" b="1" i="0" u="none" strike="noStrike" kern="1200" cap="none" spc="0" normalizeH="0" baseline="0" noProof="0">
                <a:ln>
                  <a:noFill/>
                </a:ln>
                <a:solidFill>
                  <a:schemeClr val="accent1"/>
                </a:solidFill>
                <a:effectLst/>
                <a:uLnTx/>
                <a:uFillTx/>
                <a:latin typeface="Arial Black"/>
                <a:ea typeface="+mn-ea"/>
                <a:cs typeface="+mn-cs"/>
              </a:rPr>
              <a:t>ORDERING</a:t>
            </a:r>
          </a:p>
          <a:p>
            <a:pPr marL="0" marR="0" lvl="0" indent="0"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Order SKUs on BA ecommerce portal </a:t>
            </a:r>
          </a:p>
          <a:p>
            <a:pPr marL="0" marR="0" lvl="0" indent="0"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Order acknowledgement  received</a:t>
            </a:r>
          </a:p>
        </p:txBody>
      </p:sp>
      <p:sp>
        <p:nvSpPr>
          <p:cNvPr id="85" name="Inhaltsplatzhalter 4">
            <a:extLst>
              <a:ext uri="{FF2B5EF4-FFF2-40B4-BE49-F238E27FC236}">
                <a16:creationId xmlns:a16="http://schemas.microsoft.com/office/drawing/2014/main" id="{1DCAD1E3-5552-27F5-28CB-07DEBE0EDA86}"/>
              </a:ext>
            </a:extLst>
          </p:cNvPr>
          <p:cNvSpPr txBox="1">
            <a:spLocks/>
          </p:cNvSpPr>
          <p:nvPr/>
        </p:nvSpPr>
        <p:spPr>
          <a:xfrm>
            <a:off x="3479260" y="3597456"/>
            <a:ext cx="2241609" cy="1272143"/>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50000"/>
              </a:lnSpc>
              <a:spcBef>
                <a:spcPts val="0"/>
              </a:spcBef>
              <a:spcAft>
                <a:spcPts val="1000"/>
              </a:spcAft>
              <a:buClrTx/>
              <a:buSzTx/>
              <a:buFont typeface="Wingdings" panose="05000000000000000000" pitchFamily="2" charset="2"/>
              <a:buNone/>
              <a:tabLst/>
              <a:defRPr/>
            </a:pPr>
            <a:r>
              <a:rPr kumimoji="0" lang="en-US" sz="2000" b="1" i="0" u="none" strike="noStrike" kern="1200" cap="none" spc="0" normalizeH="0" baseline="0" noProof="0">
                <a:ln>
                  <a:noFill/>
                </a:ln>
                <a:solidFill>
                  <a:schemeClr val="accent1"/>
                </a:solidFill>
                <a:effectLst/>
                <a:uLnTx/>
                <a:uFillTx/>
                <a:latin typeface="Arial Black"/>
                <a:ea typeface="+mn-ea"/>
                <a:cs typeface="+mn-cs"/>
              </a:rPr>
              <a:t>CONNECTING</a:t>
            </a:r>
          </a:p>
          <a:p>
            <a:pPr marL="0" marR="0" lvl="0" indent="0"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Subscription available on Partner Portal</a:t>
            </a:r>
          </a:p>
          <a:p>
            <a:pPr marL="0" marR="0" lvl="0" indent="0"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Register Gateway to Cloud</a:t>
            </a:r>
          </a:p>
        </p:txBody>
      </p:sp>
      <p:sp>
        <p:nvSpPr>
          <p:cNvPr id="86" name="Inhaltsplatzhalter 4">
            <a:extLst>
              <a:ext uri="{FF2B5EF4-FFF2-40B4-BE49-F238E27FC236}">
                <a16:creationId xmlns:a16="http://schemas.microsoft.com/office/drawing/2014/main" id="{95996C05-E86D-D0F6-C592-7973931F213B}"/>
              </a:ext>
            </a:extLst>
          </p:cNvPr>
          <p:cNvSpPr txBox="1">
            <a:spLocks/>
          </p:cNvSpPr>
          <p:nvPr/>
        </p:nvSpPr>
        <p:spPr>
          <a:xfrm>
            <a:off x="6368688" y="3594791"/>
            <a:ext cx="2241609" cy="2325445"/>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50000"/>
              </a:lnSpc>
              <a:spcBef>
                <a:spcPts val="0"/>
              </a:spcBef>
              <a:spcAft>
                <a:spcPts val="1000"/>
              </a:spcAft>
              <a:buClrTx/>
              <a:buSzTx/>
              <a:buFont typeface="Wingdings" panose="05000000000000000000" pitchFamily="2" charset="2"/>
              <a:buNone/>
              <a:tabLst/>
              <a:defRPr/>
            </a:pPr>
            <a:r>
              <a:rPr kumimoji="0" lang="en-US" sz="2000" b="1" i="0" u="none" strike="noStrike" kern="1200" cap="none" spc="0" normalizeH="0" baseline="0" noProof="0">
                <a:ln>
                  <a:noFill/>
                </a:ln>
                <a:solidFill>
                  <a:schemeClr val="accent1"/>
                </a:solidFill>
                <a:effectLst/>
                <a:uLnTx/>
                <a:uFillTx/>
                <a:latin typeface="Arial Black"/>
                <a:ea typeface="+mn-ea"/>
                <a:cs typeface="+mn-cs"/>
              </a:rPr>
              <a:t>ONBOARDING</a:t>
            </a:r>
            <a:r>
              <a:rPr kumimoji="0" lang="en-US" sz="1200" b="0" i="0" u="none" strike="noStrike" kern="1200" cap="none" spc="0" normalizeH="0" baseline="0" noProof="0">
                <a:ln>
                  <a:noFill/>
                </a:ln>
                <a:solidFill>
                  <a:prstClr val="black"/>
                </a:solidFill>
                <a:effectLst/>
                <a:uLnTx/>
                <a:uFillTx/>
                <a:latin typeface="Arial"/>
                <a:ea typeface="+mn-ea"/>
                <a:cs typeface="+mn-cs"/>
              </a:rPr>
              <a:t> </a:t>
            </a:r>
          </a:p>
          <a:p>
            <a:pPr marL="0" marR="0" lvl="0" indent="0"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Create site &amp; users attach to available subscription </a:t>
            </a:r>
          </a:p>
          <a:p>
            <a:pPr marL="0" marR="0" lvl="0" indent="0"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utomatic AI Based </a:t>
            </a:r>
            <a:r>
              <a:rPr kumimoji="0" lang="en-US" sz="1200" b="0" i="0" u="none" strike="noStrike" kern="1200" cap="none" spc="0" normalizeH="0" baseline="0" noProof="0" err="1">
                <a:ln>
                  <a:noFill/>
                </a:ln>
                <a:solidFill>
                  <a:prstClr val="black"/>
                </a:solidFill>
                <a:effectLst/>
                <a:uLnTx/>
                <a:uFillTx/>
                <a:latin typeface="Arial"/>
                <a:ea typeface="+mn-ea"/>
                <a:cs typeface="+mn-cs"/>
              </a:rPr>
              <a:t>Contextualisation</a:t>
            </a:r>
            <a:r>
              <a:rPr kumimoji="0" lang="en-US" sz="1200" b="0" i="0" u="none" strike="noStrike" kern="1200" cap="none" spc="0" normalizeH="0" baseline="0" noProof="0">
                <a:ln>
                  <a:noFill/>
                </a:ln>
                <a:solidFill>
                  <a:prstClr val="black"/>
                </a:solidFill>
                <a:effectLst/>
                <a:uLnTx/>
                <a:uFillTx/>
                <a:latin typeface="Arial"/>
                <a:ea typeface="+mn-ea"/>
                <a:cs typeface="+mn-cs"/>
              </a:rPr>
              <a:t> starts</a:t>
            </a:r>
          </a:p>
          <a:p>
            <a:pPr marL="0" marR="0" lvl="0" indent="0"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Fine tuning with manual contextualization available</a:t>
            </a:r>
          </a:p>
          <a:p>
            <a:pPr marL="0" marR="0" lvl="0" indent="0" algn="ctr" defTabSz="914127" rtl="0" eaLnBrk="1" fontAlgn="auto" latinLnBrk="0" hangingPunct="1">
              <a:lnSpc>
                <a:spcPct val="150000"/>
              </a:lnSpc>
              <a:spcBef>
                <a:spcPts val="0"/>
              </a:spcBef>
              <a:spcAft>
                <a:spcPts val="1000"/>
              </a:spcAft>
              <a:buClrTx/>
              <a:buSzTx/>
              <a:buFont typeface="Wingdings" panose="05000000000000000000" pitchFamily="2" charset="2"/>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cxnSp>
        <p:nvCxnSpPr>
          <p:cNvPr id="102" name="Straight Connector 101">
            <a:extLst>
              <a:ext uri="{FF2B5EF4-FFF2-40B4-BE49-F238E27FC236}">
                <a16:creationId xmlns:a16="http://schemas.microsoft.com/office/drawing/2014/main" id="{8007F657-EC0A-0531-2AC3-2673920B39E7}"/>
              </a:ext>
            </a:extLst>
          </p:cNvPr>
          <p:cNvCxnSpPr>
            <a:cxnSpLocks/>
            <a:endCxn id="84" idx="0"/>
          </p:cNvCxnSpPr>
          <p:nvPr/>
        </p:nvCxnSpPr>
        <p:spPr>
          <a:xfrm flipH="1">
            <a:off x="1836421" y="3048625"/>
            <a:ext cx="15110" cy="554504"/>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070EDD3-1E39-01A2-CCBF-EDF99D5A600E}"/>
              </a:ext>
            </a:extLst>
          </p:cNvPr>
          <p:cNvCxnSpPr/>
          <p:nvPr/>
        </p:nvCxnSpPr>
        <p:spPr>
          <a:xfrm>
            <a:off x="4612878" y="3028950"/>
            <a:ext cx="0" cy="554504"/>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A702F12-9B58-8712-1232-CC6773A05DD6}"/>
              </a:ext>
            </a:extLst>
          </p:cNvPr>
          <p:cNvCxnSpPr/>
          <p:nvPr/>
        </p:nvCxnSpPr>
        <p:spPr>
          <a:xfrm>
            <a:off x="7495420" y="3028950"/>
            <a:ext cx="0" cy="554504"/>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6F4403E-C698-7B2E-6B87-F2F0AFC9E0B8}"/>
              </a:ext>
            </a:extLst>
          </p:cNvPr>
          <p:cNvCxnSpPr/>
          <p:nvPr/>
        </p:nvCxnSpPr>
        <p:spPr>
          <a:xfrm>
            <a:off x="10270001" y="2992502"/>
            <a:ext cx="0" cy="554504"/>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6" name="Inhaltsplatzhalter 4">
            <a:extLst>
              <a:ext uri="{FF2B5EF4-FFF2-40B4-BE49-F238E27FC236}">
                <a16:creationId xmlns:a16="http://schemas.microsoft.com/office/drawing/2014/main" id="{E7A2AB33-71E8-DE05-CC0A-7B329054ED24}"/>
              </a:ext>
            </a:extLst>
          </p:cNvPr>
          <p:cNvSpPr txBox="1">
            <a:spLocks/>
          </p:cNvSpPr>
          <p:nvPr/>
        </p:nvSpPr>
        <p:spPr>
          <a:xfrm>
            <a:off x="9221523" y="3640740"/>
            <a:ext cx="2241609" cy="991746"/>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2000" b="1" i="0" u="none" strike="noStrike" kern="1200" cap="none" spc="0" normalizeH="0" baseline="0" noProof="0">
                <a:ln>
                  <a:noFill/>
                </a:ln>
                <a:solidFill>
                  <a:schemeClr val="accent1"/>
                </a:solidFill>
                <a:effectLst/>
                <a:uLnTx/>
                <a:uFillTx/>
                <a:latin typeface="Arial Black"/>
                <a:ea typeface="+mn-ea"/>
                <a:cs typeface="+mn-cs"/>
              </a:rPr>
              <a:t>APPS</a:t>
            </a:r>
            <a:endParaRPr kumimoji="0" lang="en-US" sz="1800" b="1" i="0" u="none" strike="noStrike" kern="1200" cap="none" spc="0" normalizeH="0" baseline="0" noProof="0">
              <a:ln>
                <a:noFill/>
              </a:ln>
              <a:solidFill>
                <a:schemeClr val="accent1"/>
              </a:solidFill>
              <a:effectLst/>
              <a:uLnTx/>
              <a:uFillTx/>
              <a:latin typeface="Arial Black"/>
              <a:ea typeface="+mn-ea"/>
              <a:cs typeface="+mn-cs"/>
            </a:endParaRPr>
          </a:p>
          <a:p>
            <a:pPr marL="0" marR="0" lvl="0" indent="0" defTabSz="914127"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ssociate to subscribed apps</a:t>
            </a:r>
          </a:p>
          <a:p>
            <a:pPr marL="0" marR="0" lvl="0" indent="0" defTabSz="914127" rtl="0" eaLnBrk="1" fontAlgn="auto" latinLnBrk="0" hangingPunct="1">
              <a:lnSpc>
                <a:spcPct val="15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ccess your apps!</a:t>
            </a:r>
          </a:p>
        </p:txBody>
      </p:sp>
      <p:grpSp>
        <p:nvGrpSpPr>
          <p:cNvPr id="116" name="Group 115">
            <a:extLst>
              <a:ext uri="{FF2B5EF4-FFF2-40B4-BE49-F238E27FC236}">
                <a16:creationId xmlns:a16="http://schemas.microsoft.com/office/drawing/2014/main" id="{53E639BE-99A7-6D57-8B84-9ED27E44AC4E}"/>
              </a:ext>
            </a:extLst>
          </p:cNvPr>
          <p:cNvGrpSpPr/>
          <p:nvPr/>
        </p:nvGrpSpPr>
        <p:grpSpPr>
          <a:xfrm>
            <a:off x="1807432" y="2183695"/>
            <a:ext cx="559664" cy="476955"/>
            <a:chOff x="10947400" y="1933575"/>
            <a:chExt cx="579438" cy="514350"/>
          </a:xfrm>
          <a:solidFill>
            <a:schemeClr val="bg1"/>
          </a:solidFill>
        </p:grpSpPr>
        <p:sp>
          <p:nvSpPr>
            <p:cNvPr id="117" name="Freeform 39">
              <a:extLst>
                <a:ext uri="{FF2B5EF4-FFF2-40B4-BE49-F238E27FC236}">
                  <a16:creationId xmlns:a16="http://schemas.microsoft.com/office/drawing/2014/main" id="{F6EFA612-D098-26F4-5469-B2ED16FD239E}"/>
                </a:ext>
              </a:extLst>
            </p:cNvPr>
            <p:cNvSpPr>
              <a:spLocks noEditPoints="1"/>
            </p:cNvSpPr>
            <p:nvPr/>
          </p:nvSpPr>
          <p:spPr bwMode="auto">
            <a:xfrm>
              <a:off x="10947400" y="1933575"/>
              <a:ext cx="579438" cy="514350"/>
            </a:xfrm>
            <a:custGeom>
              <a:avLst/>
              <a:gdLst>
                <a:gd name="T0" fmla="*/ 1485 w 3650"/>
                <a:gd name="T1" fmla="*/ 2859 h 3244"/>
                <a:gd name="T2" fmla="*/ 1446 w 3650"/>
                <a:gd name="T3" fmla="*/ 2997 h 3244"/>
                <a:gd name="T4" fmla="*/ 2253 w 3650"/>
                <a:gd name="T5" fmla="*/ 3076 h 3244"/>
                <a:gd name="T6" fmla="*/ 2186 w 3650"/>
                <a:gd name="T7" fmla="*/ 2953 h 3244"/>
                <a:gd name="T8" fmla="*/ 2161 w 3650"/>
                <a:gd name="T9" fmla="*/ 2810 h 3244"/>
                <a:gd name="T10" fmla="*/ 168 w 3650"/>
                <a:gd name="T11" fmla="*/ 1989 h 3244"/>
                <a:gd name="T12" fmla="*/ 178 w 3650"/>
                <a:gd name="T13" fmla="*/ 2460 h 3244"/>
                <a:gd name="T14" fmla="*/ 220 w 3650"/>
                <a:gd name="T15" fmla="*/ 2483 h 3244"/>
                <a:gd name="T16" fmla="*/ 3461 w 3650"/>
                <a:gd name="T17" fmla="*/ 2472 h 3244"/>
                <a:gd name="T18" fmla="*/ 3482 w 3650"/>
                <a:gd name="T19" fmla="*/ 2430 h 3244"/>
                <a:gd name="T20" fmla="*/ 220 w 3650"/>
                <a:gd name="T21" fmla="*/ 167 h 3244"/>
                <a:gd name="T22" fmla="*/ 178 w 3650"/>
                <a:gd name="T23" fmla="*/ 188 h 3244"/>
                <a:gd name="T24" fmla="*/ 168 w 3650"/>
                <a:gd name="T25" fmla="*/ 1820 h 3244"/>
                <a:gd name="T26" fmla="*/ 3479 w 3650"/>
                <a:gd name="T27" fmla="*/ 203 h 3244"/>
                <a:gd name="T28" fmla="*/ 3446 w 3650"/>
                <a:gd name="T29" fmla="*/ 169 h 3244"/>
                <a:gd name="T30" fmla="*/ 220 w 3650"/>
                <a:gd name="T31" fmla="*/ 0 h 3244"/>
                <a:gd name="T32" fmla="*/ 3500 w 3650"/>
                <a:gd name="T33" fmla="*/ 11 h 3244"/>
                <a:gd name="T34" fmla="*/ 3586 w 3650"/>
                <a:gd name="T35" fmla="*/ 64 h 3244"/>
                <a:gd name="T36" fmla="*/ 3639 w 3650"/>
                <a:gd name="T37" fmla="*/ 150 h 3244"/>
                <a:gd name="T38" fmla="*/ 3650 w 3650"/>
                <a:gd name="T39" fmla="*/ 2430 h 3244"/>
                <a:gd name="T40" fmla="*/ 3626 w 3650"/>
                <a:gd name="T41" fmla="*/ 2531 h 3244"/>
                <a:gd name="T42" fmla="*/ 3559 w 3650"/>
                <a:gd name="T43" fmla="*/ 2607 h 3244"/>
                <a:gd name="T44" fmla="*/ 3465 w 3650"/>
                <a:gd name="T45" fmla="*/ 2647 h 3244"/>
                <a:gd name="T46" fmla="*/ 2330 w 3650"/>
                <a:gd name="T47" fmla="*/ 2810 h 3244"/>
                <a:gd name="T48" fmla="*/ 2359 w 3650"/>
                <a:gd name="T49" fmla="*/ 2932 h 3244"/>
                <a:gd name="T50" fmla="*/ 2439 w 3650"/>
                <a:gd name="T51" fmla="*/ 3024 h 3244"/>
                <a:gd name="T52" fmla="*/ 2553 w 3650"/>
                <a:gd name="T53" fmla="*/ 3072 h 3244"/>
                <a:gd name="T54" fmla="*/ 2861 w 3650"/>
                <a:gd name="T55" fmla="*/ 3078 h 3244"/>
                <a:gd name="T56" fmla="*/ 2911 w 3650"/>
                <a:gd name="T57" fmla="*/ 3117 h 3244"/>
                <a:gd name="T58" fmla="*/ 2920 w 3650"/>
                <a:gd name="T59" fmla="*/ 3182 h 3244"/>
                <a:gd name="T60" fmla="*/ 2881 w 3650"/>
                <a:gd name="T61" fmla="*/ 3232 h 3244"/>
                <a:gd name="T62" fmla="*/ 811 w 3650"/>
                <a:gd name="T63" fmla="*/ 3244 h 3244"/>
                <a:gd name="T64" fmla="*/ 752 w 3650"/>
                <a:gd name="T65" fmla="*/ 3219 h 3244"/>
                <a:gd name="T66" fmla="*/ 727 w 3650"/>
                <a:gd name="T67" fmla="*/ 3160 h 3244"/>
                <a:gd name="T68" fmla="*/ 752 w 3650"/>
                <a:gd name="T69" fmla="*/ 3101 h 3244"/>
                <a:gd name="T70" fmla="*/ 811 w 3650"/>
                <a:gd name="T71" fmla="*/ 3076 h 3244"/>
                <a:gd name="T72" fmla="*/ 1138 w 3650"/>
                <a:gd name="T73" fmla="*/ 3062 h 3244"/>
                <a:gd name="T74" fmla="*/ 1242 w 3650"/>
                <a:gd name="T75" fmla="*/ 2998 h 3244"/>
                <a:gd name="T76" fmla="*/ 1306 w 3650"/>
                <a:gd name="T77" fmla="*/ 2894 h 3244"/>
                <a:gd name="T78" fmla="*/ 1320 w 3650"/>
                <a:gd name="T79" fmla="*/ 2650 h 3244"/>
                <a:gd name="T80" fmla="*/ 150 w 3650"/>
                <a:gd name="T81" fmla="*/ 2638 h 3244"/>
                <a:gd name="T82" fmla="*/ 64 w 3650"/>
                <a:gd name="T83" fmla="*/ 2585 h 3244"/>
                <a:gd name="T84" fmla="*/ 11 w 3650"/>
                <a:gd name="T85" fmla="*/ 2499 h 3244"/>
                <a:gd name="T86" fmla="*/ 0 w 3650"/>
                <a:gd name="T87" fmla="*/ 219 h 3244"/>
                <a:gd name="T88" fmla="*/ 24 w 3650"/>
                <a:gd name="T89" fmla="*/ 119 h 3244"/>
                <a:gd name="T90" fmla="*/ 91 w 3650"/>
                <a:gd name="T91" fmla="*/ 41 h 3244"/>
                <a:gd name="T92" fmla="*/ 185 w 3650"/>
                <a:gd name="T93" fmla="*/ 3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50" h="3244">
                  <a:moveTo>
                    <a:pt x="1489" y="2650"/>
                  </a:moveTo>
                  <a:lnTo>
                    <a:pt x="1489" y="2810"/>
                  </a:lnTo>
                  <a:lnTo>
                    <a:pt x="1485" y="2859"/>
                  </a:lnTo>
                  <a:lnTo>
                    <a:pt x="1478" y="2907"/>
                  </a:lnTo>
                  <a:lnTo>
                    <a:pt x="1464" y="2953"/>
                  </a:lnTo>
                  <a:lnTo>
                    <a:pt x="1446" y="2997"/>
                  </a:lnTo>
                  <a:lnTo>
                    <a:pt x="1424" y="3038"/>
                  </a:lnTo>
                  <a:lnTo>
                    <a:pt x="1397" y="3076"/>
                  </a:lnTo>
                  <a:lnTo>
                    <a:pt x="2253" y="3076"/>
                  </a:lnTo>
                  <a:lnTo>
                    <a:pt x="2227" y="3038"/>
                  </a:lnTo>
                  <a:lnTo>
                    <a:pt x="2204" y="2997"/>
                  </a:lnTo>
                  <a:lnTo>
                    <a:pt x="2186" y="2953"/>
                  </a:lnTo>
                  <a:lnTo>
                    <a:pt x="2172" y="2907"/>
                  </a:lnTo>
                  <a:lnTo>
                    <a:pt x="2165" y="2859"/>
                  </a:lnTo>
                  <a:lnTo>
                    <a:pt x="2161" y="2810"/>
                  </a:lnTo>
                  <a:lnTo>
                    <a:pt x="2161" y="2650"/>
                  </a:lnTo>
                  <a:lnTo>
                    <a:pt x="1489" y="2650"/>
                  </a:lnTo>
                  <a:close/>
                  <a:moveTo>
                    <a:pt x="168" y="1989"/>
                  </a:moveTo>
                  <a:lnTo>
                    <a:pt x="168" y="2430"/>
                  </a:lnTo>
                  <a:lnTo>
                    <a:pt x="171" y="2446"/>
                  </a:lnTo>
                  <a:lnTo>
                    <a:pt x="178" y="2460"/>
                  </a:lnTo>
                  <a:lnTo>
                    <a:pt x="189" y="2472"/>
                  </a:lnTo>
                  <a:lnTo>
                    <a:pt x="204" y="2479"/>
                  </a:lnTo>
                  <a:lnTo>
                    <a:pt x="220" y="2483"/>
                  </a:lnTo>
                  <a:lnTo>
                    <a:pt x="3430" y="2483"/>
                  </a:lnTo>
                  <a:lnTo>
                    <a:pt x="3446" y="2479"/>
                  </a:lnTo>
                  <a:lnTo>
                    <a:pt x="3461" y="2472"/>
                  </a:lnTo>
                  <a:lnTo>
                    <a:pt x="3472" y="2460"/>
                  </a:lnTo>
                  <a:lnTo>
                    <a:pt x="3479" y="2446"/>
                  </a:lnTo>
                  <a:lnTo>
                    <a:pt x="3482" y="2430"/>
                  </a:lnTo>
                  <a:lnTo>
                    <a:pt x="3482" y="1989"/>
                  </a:lnTo>
                  <a:lnTo>
                    <a:pt x="168" y="1989"/>
                  </a:lnTo>
                  <a:close/>
                  <a:moveTo>
                    <a:pt x="220" y="167"/>
                  </a:moveTo>
                  <a:lnTo>
                    <a:pt x="204" y="169"/>
                  </a:lnTo>
                  <a:lnTo>
                    <a:pt x="189" y="177"/>
                  </a:lnTo>
                  <a:lnTo>
                    <a:pt x="178" y="188"/>
                  </a:lnTo>
                  <a:lnTo>
                    <a:pt x="171" y="203"/>
                  </a:lnTo>
                  <a:lnTo>
                    <a:pt x="168" y="219"/>
                  </a:lnTo>
                  <a:lnTo>
                    <a:pt x="168" y="1820"/>
                  </a:lnTo>
                  <a:lnTo>
                    <a:pt x="3482" y="1820"/>
                  </a:lnTo>
                  <a:lnTo>
                    <a:pt x="3482" y="219"/>
                  </a:lnTo>
                  <a:lnTo>
                    <a:pt x="3479" y="203"/>
                  </a:lnTo>
                  <a:lnTo>
                    <a:pt x="3472" y="188"/>
                  </a:lnTo>
                  <a:lnTo>
                    <a:pt x="3461" y="177"/>
                  </a:lnTo>
                  <a:lnTo>
                    <a:pt x="3446" y="169"/>
                  </a:lnTo>
                  <a:lnTo>
                    <a:pt x="3430" y="167"/>
                  </a:lnTo>
                  <a:lnTo>
                    <a:pt x="220" y="167"/>
                  </a:lnTo>
                  <a:close/>
                  <a:moveTo>
                    <a:pt x="220" y="0"/>
                  </a:moveTo>
                  <a:lnTo>
                    <a:pt x="3430" y="0"/>
                  </a:lnTo>
                  <a:lnTo>
                    <a:pt x="3465" y="3"/>
                  </a:lnTo>
                  <a:lnTo>
                    <a:pt x="3500" y="11"/>
                  </a:lnTo>
                  <a:lnTo>
                    <a:pt x="3531" y="24"/>
                  </a:lnTo>
                  <a:lnTo>
                    <a:pt x="3559" y="41"/>
                  </a:lnTo>
                  <a:lnTo>
                    <a:pt x="3586" y="64"/>
                  </a:lnTo>
                  <a:lnTo>
                    <a:pt x="3608" y="90"/>
                  </a:lnTo>
                  <a:lnTo>
                    <a:pt x="3626" y="119"/>
                  </a:lnTo>
                  <a:lnTo>
                    <a:pt x="3639" y="150"/>
                  </a:lnTo>
                  <a:lnTo>
                    <a:pt x="3647" y="184"/>
                  </a:lnTo>
                  <a:lnTo>
                    <a:pt x="3650" y="219"/>
                  </a:lnTo>
                  <a:lnTo>
                    <a:pt x="3650" y="2430"/>
                  </a:lnTo>
                  <a:lnTo>
                    <a:pt x="3647" y="2466"/>
                  </a:lnTo>
                  <a:lnTo>
                    <a:pt x="3639" y="2499"/>
                  </a:lnTo>
                  <a:lnTo>
                    <a:pt x="3626" y="2531"/>
                  </a:lnTo>
                  <a:lnTo>
                    <a:pt x="3608" y="2560"/>
                  </a:lnTo>
                  <a:lnTo>
                    <a:pt x="3586" y="2585"/>
                  </a:lnTo>
                  <a:lnTo>
                    <a:pt x="3559" y="2607"/>
                  </a:lnTo>
                  <a:lnTo>
                    <a:pt x="3531" y="2625"/>
                  </a:lnTo>
                  <a:lnTo>
                    <a:pt x="3500" y="2638"/>
                  </a:lnTo>
                  <a:lnTo>
                    <a:pt x="3465" y="2647"/>
                  </a:lnTo>
                  <a:lnTo>
                    <a:pt x="3430" y="2650"/>
                  </a:lnTo>
                  <a:lnTo>
                    <a:pt x="2330" y="2650"/>
                  </a:lnTo>
                  <a:lnTo>
                    <a:pt x="2330" y="2810"/>
                  </a:lnTo>
                  <a:lnTo>
                    <a:pt x="2334" y="2853"/>
                  </a:lnTo>
                  <a:lnTo>
                    <a:pt x="2344" y="2894"/>
                  </a:lnTo>
                  <a:lnTo>
                    <a:pt x="2359" y="2932"/>
                  </a:lnTo>
                  <a:lnTo>
                    <a:pt x="2381" y="2967"/>
                  </a:lnTo>
                  <a:lnTo>
                    <a:pt x="2408" y="2998"/>
                  </a:lnTo>
                  <a:lnTo>
                    <a:pt x="2439" y="3024"/>
                  </a:lnTo>
                  <a:lnTo>
                    <a:pt x="2474" y="3046"/>
                  </a:lnTo>
                  <a:lnTo>
                    <a:pt x="2512" y="3062"/>
                  </a:lnTo>
                  <a:lnTo>
                    <a:pt x="2553" y="3072"/>
                  </a:lnTo>
                  <a:lnTo>
                    <a:pt x="2597" y="3076"/>
                  </a:lnTo>
                  <a:lnTo>
                    <a:pt x="2839" y="3076"/>
                  </a:lnTo>
                  <a:lnTo>
                    <a:pt x="2861" y="3078"/>
                  </a:lnTo>
                  <a:lnTo>
                    <a:pt x="2881" y="3087"/>
                  </a:lnTo>
                  <a:lnTo>
                    <a:pt x="2898" y="3101"/>
                  </a:lnTo>
                  <a:lnTo>
                    <a:pt x="2911" y="3117"/>
                  </a:lnTo>
                  <a:lnTo>
                    <a:pt x="2920" y="3137"/>
                  </a:lnTo>
                  <a:lnTo>
                    <a:pt x="2923" y="3160"/>
                  </a:lnTo>
                  <a:lnTo>
                    <a:pt x="2920" y="3182"/>
                  </a:lnTo>
                  <a:lnTo>
                    <a:pt x="2911" y="3202"/>
                  </a:lnTo>
                  <a:lnTo>
                    <a:pt x="2898" y="3219"/>
                  </a:lnTo>
                  <a:lnTo>
                    <a:pt x="2881" y="3232"/>
                  </a:lnTo>
                  <a:lnTo>
                    <a:pt x="2861" y="3241"/>
                  </a:lnTo>
                  <a:lnTo>
                    <a:pt x="2839" y="3244"/>
                  </a:lnTo>
                  <a:lnTo>
                    <a:pt x="811" y="3244"/>
                  </a:lnTo>
                  <a:lnTo>
                    <a:pt x="789" y="3241"/>
                  </a:lnTo>
                  <a:lnTo>
                    <a:pt x="769" y="3232"/>
                  </a:lnTo>
                  <a:lnTo>
                    <a:pt x="752" y="3219"/>
                  </a:lnTo>
                  <a:lnTo>
                    <a:pt x="739" y="3202"/>
                  </a:lnTo>
                  <a:lnTo>
                    <a:pt x="730" y="3182"/>
                  </a:lnTo>
                  <a:lnTo>
                    <a:pt x="727" y="3160"/>
                  </a:lnTo>
                  <a:lnTo>
                    <a:pt x="730" y="3137"/>
                  </a:lnTo>
                  <a:lnTo>
                    <a:pt x="739" y="3117"/>
                  </a:lnTo>
                  <a:lnTo>
                    <a:pt x="752" y="3101"/>
                  </a:lnTo>
                  <a:lnTo>
                    <a:pt x="769" y="3087"/>
                  </a:lnTo>
                  <a:lnTo>
                    <a:pt x="789" y="3078"/>
                  </a:lnTo>
                  <a:lnTo>
                    <a:pt x="811" y="3076"/>
                  </a:lnTo>
                  <a:lnTo>
                    <a:pt x="1053" y="3076"/>
                  </a:lnTo>
                  <a:lnTo>
                    <a:pt x="1097" y="3072"/>
                  </a:lnTo>
                  <a:lnTo>
                    <a:pt x="1138" y="3062"/>
                  </a:lnTo>
                  <a:lnTo>
                    <a:pt x="1176" y="3046"/>
                  </a:lnTo>
                  <a:lnTo>
                    <a:pt x="1211" y="3024"/>
                  </a:lnTo>
                  <a:lnTo>
                    <a:pt x="1242" y="2998"/>
                  </a:lnTo>
                  <a:lnTo>
                    <a:pt x="1269" y="2967"/>
                  </a:lnTo>
                  <a:lnTo>
                    <a:pt x="1291" y="2932"/>
                  </a:lnTo>
                  <a:lnTo>
                    <a:pt x="1306" y="2894"/>
                  </a:lnTo>
                  <a:lnTo>
                    <a:pt x="1316" y="2853"/>
                  </a:lnTo>
                  <a:lnTo>
                    <a:pt x="1320" y="2810"/>
                  </a:lnTo>
                  <a:lnTo>
                    <a:pt x="1320" y="2650"/>
                  </a:lnTo>
                  <a:lnTo>
                    <a:pt x="220" y="2650"/>
                  </a:lnTo>
                  <a:lnTo>
                    <a:pt x="185" y="2647"/>
                  </a:lnTo>
                  <a:lnTo>
                    <a:pt x="150" y="2638"/>
                  </a:lnTo>
                  <a:lnTo>
                    <a:pt x="119" y="2625"/>
                  </a:lnTo>
                  <a:lnTo>
                    <a:pt x="91" y="2607"/>
                  </a:lnTo>
                  <a:lnTo>
                    <a:pt x="64" y="2585"/>
                  </a:lnTo>
                  <a:lnTo>
                    <a:pt x="42" y="2560"/>
                  </a:lnTo>
                  <a:lnTo>
                    <a:pt x="24" y="2531"/>
                  </a:lnTo>
                  <a:lnTo>
                    <a:pt x="11" y="2499"/>
                  </a:lnTo>
                  <a:lnTo>
                    <a:pt x="3" y="2466"/>
                  </a:lnTo>
                  <a:lnTo>
                    <a:pt x="0" y="2430"/>
                  </a:lnTo>
                  <a:lnTo>
                    <a:pt x="0" y="219"/>
                  </a:lnTo>
                  <a:lnTo>
                    <a:pt x="3" y="184"/>
                  </a:lnTo>
                  <a:lnTo>
                    <a:pt x="11" y="150"/>
                  </a:lnTo>
                  <a:lnTo>
                    <a:pt x="24" y="119"/>
                  </a:lnTo>
                  <a:lnTo>
                    <a:pt x="42" y="90"/>
                  </a:lnTo>
                  <a:lnTo>
                    <a:pt x="64" y="64"/>
                  </a:lnTo>
                  <a:lnTo>
                    <a:pt x="91" y="41"/>
                  </a:lnTo>
                  <a:lnTo>
                    <a:pt x="119" y="24"/>
                  </a:lnTo>
                  <a:lnTo>
                    <a:pt x="150" y="11"/>
                  </a:lnTo>
                  <a:lnTo>
                    <a:pt x="185" y="3"/>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8" name="Freeform 40">
              <a:extLst>
                <a:ext uri="{FF2B5EF4-FFF2-40B4-BE49-F238E27FC236}">
                  <a16:creationId xmlns:a16="http://schemas.microsoft.com/office/drawing/2014/main" id="{5F683A3A-1E86-D907-C052-B4427CEA26CE}"/>
                </a:ext>
              </a:extLst>
            </p:cNvPr>
            <p:cNvSpPr>
              <a:spLocks/>
            </p:cNvSpPr>
            <p:nvPr/>
          </p:nvSpPr>
          <p:spPr bwMode="auto">
            <a:xfrm>
              <a:off x="11222038" y="2273300"/>
              <a:ext cx="30163" cy="28575"/>
            </a:xfrm>
            <a:custGeom>
              <a:avLst/>
              <a:gdLst>
                <a:gd name="T0" fmla="*/ 91 w 182"/>
                <a:gd name="T1" fmla="*/ 0 h 181"/>
                <a:gd name="T2" fmla="*/ 115 w 182"/>
                <a:gd name="T3" fmla="*/ 3 h 181"/>
                <a:gd name="T4" fmla="*/ 136 w 182"/>
                <a:gd name="T5" fmla="*/ 12 h 181"/>
                <a:gd name="T6" fmla="*/ 155 w 182"/>
                <a:gd name="T7" fmla="*/ 26 h 181"/>
                <a:gd name="T8" fmla="*/ 170 w 182"/>
                <a:gd name="T9" fmla="*/ 45 h 181"/>
                <a:gd name="T10" fmla="*/ 178 w 182"/>
                <a:gd name="T11" fmla="*/ 66 h 181"/>
                <a:gd name="T12" fmla="*/ 182 w 182"/>
                <a:gd name="T13" fmla="*/ 90 h 181"/>
                <a:gd name="T14" fmla="*/ 178 w 182"/>
                <a:gd name="T15" fmla="*/ 115 h 181"/>
                <a:gd name="T16" fmla="*/ 170 w 182"/>
                <a:gd name="T17" fmla="*/ 137 h 181"/>
                <a:gd name="T18" fmla="*/ 155 w 182"/>
                <a:gd name="T19" fmla="*/ 154 h 181"/>
                <a:gd name="T20" fmla="*/ 136 w 182"/>
                <a:gd name="T21" fmla="*/ 169 h 181"/>
                <a:gd name="T22" fmla="*/ 115 w 182"/>
                <a:gd name="T23" fmla="*/ 178 h 181"/>
                <a:gd name="T24" fmla="*/ 91 w 182"/>
                <a:gd name="T25" fmla="*/ 181 h 181"/>
                <a:gd name="T26" fmla="*/ 67 w 182"/>
                <a:gd name="T27" fmla="*/ 178 h 181"/>
                <a:gd name="T28" fmla="*/ 46 w 182"/>
                <a:gd name="T29" fmla="*/ 169 h 181"/>
                <a:gd name="T30" fmla="*/ 27 w 182"/>
                <a:gd name="T31" fmla="*/ 154 h 181"/>
                <a:gd name="T32" fmla="*/ 12 w 182"/>
                <a:gd name="T33" fmla="*/ 137 h 181"/>
                <a:gd name="T34" fmla="*/ 4 w 182"/>
                <a:gd name="T35" fmla="*/ 115 h 181"/>
                <a:gd name="T36" fmla="*/ 0 w 182"/>
                <a:gd name="T37" fmla="*/ 90 h 181"/>
                <a:gd name="T38" fmla="*/ 4 w 182"/>
                <a:gd name="T39" fmla="*/ 66 h 181"/>
                <a:gd name="T40" fmla="*/ 12 w 182"/>
                <a:gd name="T41" fmla="*/ 45 h 181"/>
                <a:gd name="T42" fmla="*/ 27 w 182"/>
                <a:gd name="T43" fmla="*/ 26 h 181"/>
                <a:gd name="T44" fmla="*/ 46 w 182"/>
                <a:gd name="T45" fmla="*/ 12 h 181"/>
                <a:gd name="T46" fmla="*/ 67 w 182"/>
                <a:gd name="T47" fmla="*/ 3 h 181"/>
                <a:gd name="T48" fmla="*/ 91 w 182"/>
                <a:gd name="T4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2" h="181">
                  <a:moveTo>
                    <a:pt x="91" y="0"/>
                  </a:moveTo>
                  <a:lnTo>
                    <a:pt x="115" y="3"/>
                  </a:lnTo>
                  <a:lnTo>
                    <a:pt x="136" y="12"/>
                  </a:lnTo>
                  <a:lnTo>
                    <a:pt x="155" y="26"/>
                  </a:lnTo>
                  <a:lnTo>
                    <a:pt x="170" y="45"/>
                  </a:lnTo>
                  <a:lnTo>
                    <a:pt x="178" y="66"/>
                  </a:lnTo>
                  <a:lnTo>
                    <a:pt x="182" y="90"/>
                  </a:lnTo>
                  <a:lnTo>
                    <a:pt x="178" y="115"/>
                  </a:lnTo>
                  <a:lnTo>
                    <a:pt x="170" y="137"/>
                  </a:lnTo>
                  <a:lnTo>
                    <a:pt x="155" y="154"/>
                  </a:lnTo>
                  <a:lnTo>
                    <a:pt x="136" y="169"/>
                  </a:lnTo>
                  <a:lnTo>
                    <a:pt x="115" y="178"/>
                  </a:lnTo>
                  <a:lnTo>
                    <a:pt x="91" y="181"/>
                  </a:lnTo>
                  <a:lnTo>
                    <a:pt x="67" y="178"/>
                  </a:lnTo>
                  <a:lnTo>
                    <a:pt x="46" y="169"/>
                  </a:lnTo>
                  <a:lnTo>
                    <a:pt x="27" y="154"/>
                  </a:lnTo>
                  <a:lnTo>
                    <a:pt x="12" y="137"/>
                  </a:lnTo>
                  <a:lnTo>
                    <a:pt x="4" y="115"/>
                  </a:lnTo>
                  <a:lnTo>
                    <a:pt x="0" y="90"/>
                  </a:lnTo>
                  <a:lnTo>
                    <a:pt x="4" y="66"/>
                  </a:lnTo>
                  <a:lnTo>
                    <a:pt x="12" y="45"/>
                  </a:lnTo>
                  <a:lnTo>
                    <a:pt x="27" y="26"/>
                  </a:lnTo>
                  <a:lnTo>
                    <a:pt x="46" y="12"/>
                  </a:lnTo>
                  <a:lnTo>
                    <a:pt x="67" y="3"/>
                  </a:lnTo>
                  <a:lnTo>
                    <a:pt x="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9" name="Freeform 8">
              <a:extLst>
                <a:ext uri="{FF2B5EF4-FFF2-40B4-BE49-F238E27FC236}">
                  <a16:creationId xmlns:a16="http://schemas.microsoft.com/office/drawing/2014/main" id="{C72AB411-8347-03A4-69FB-860DAACE014F}"/>
                </a:ext>
              </a:extLst>
            </p:cNvPr>
            <p:cNvSpPr>
              <a:spLocks/>
            </p:cNvSpPr>
            <p:nvPr/>
          </p:nvSpPr>
          <p:spPr bwMode="auto">
            <a:xfrm>
              <a:off x="11142663" y="2020888"/>
              <a:ext cx="120650" cy="120650"/>
            </a:xfrm>
            <a:custGeom>
              <a:avLst/>
              <a:gdLst>
                <a:gd name="T0" fmla="*/ 669 w 762"/>
                <a:gd name="T1" fmla="*/ 0 h 761"/>
                <a:gd name="T2" fmla="*/ 688 w 762"/>
                <a:gd name="T3" fmla="*/ 0 h 761"/>
                <a:gd name="T4" fmla="*/ 706 w 762"/>
                <a:gd name="T5" fmla="*/ 4 h 761"/>
                <a:gd name="T6" fmla="*/ 723 w 762"/>
                <a:gd name="T7" fmla="*/ 12 h 761"/>
                <a:gd name="T8" fmla="*/ 738 w 762"/>
                <a:gd name="T9" fmla="*/ 24 h 761"/>
                <a:gd name="T10" fmla="*/ 750 w 762"/>
                <a:gd name="T11" fmla="*/ 39 h 761"/>
                <a:gd name="T12" fmla="*/ 759 w 762"/>
                <a:gd name="T13" fmla="*/ 56 h 761"/>
                <a:gd name="T14" fmla="*/ 762 w 762"/>
                <a:gd name="T15" fmla="*/ 73 h 761"/>
                <a:gd name="T16" fmla="*/ 762 w 762"/>
                <a:gd name="T17" fmla="*/ 92 h 761"/>
                <a:gd name="T18" fmla="*/ 759 w 762"/>
                <a:gd name="T19" fmla="*/ 110 h 761"/>
                <a:gd name="T20" fmla="*/ 750 w 762"/>
                <a:gd name="T21" fmla="*/ 128 h 761"/>
                <a:gd name="T22" fmla="*/ 738 w 762"/>
                <a:gd name="T23" fmla="*/ 143 h 761"/>
                <a:gd name="T24" fmla="*/ 144 w 762"/>
                <a:gd name="T25" fmla="*/ 736 h 761"/>
                <a:gd name="T26" fmla="*/ 131 w 762"/>
                <a:gd name="T27" fmla="*/ 747 h 761"/>
                <a:gd name="T28" fmla="*/ 116 w 762"/>
                <a:gd name="T29" fmla="*/ 754 h 761"/>
                <a:gd name="T30" fmla="*/ 101 w 762"/>
                <a:gd name="T31" fmla="*/ 759 h 761"/>
                <a:gd name="T32" fmla="*/ 84 w 762"/>
                <a:gd name="T33" fmla="*/ 761 h 761"/>
                <a:gd name="T34" fmla="*/ 68 w 762"/>
                <a:gd name="T35" fmla="*/ 759 h 761"/>
                <a:gd name="T36" fmla="*/ 52 w 762"/>
                <a:gd name="T37" fmla="*/ 754 h 761"/>
                <a:gd name="T38" fmla="*/ 38 w 762"/>
                <a:gd name="T39" fmla="*/ 747 h 761"/>
                <a:gd name="T40" fmla="*/ 24 w 762"/>
                <a:gd name="T41" fmla="*/ 736 h 761"/>
                <a:gd name="T42" fmla="*/ 12 w 762"/>
                <a:gd name="T43" fmla="*/ 720 h 761"/>
                <a:gd name="T44" fmla="*/ 4 w 762"/>
                <a:gd name="T45" fmla="*/ 704 h 761"/>
                <a:gd name="T46" fmla="*/ 0 w 762"/>
                <a:gd name="T47" fmla="*/ 686 h 761"/>
                <a:gd name="T48" fmla="*/ 0 w 762"/>
                <a:gd name="T49" fmla="*/ 667 h 761"/>
                <a:gd name="T50" fmla="*/ 4 w 762"/>
                <a:gd name="T51" fmla="*/ 650 h 761"/>
                <a:gd name="T52" fmla="*/ 12 w 762"/>
                <a:gd name="T53" fmla="*/ 632 h 761"/>
                <a:gd name="T54" fmla="*/ 24 w 762"/>
                <a:gd name="T55" fmla="*/ 618 h 761"/>
                <a:gd name="T56" fmla="*/ 619 w 762"/>
                <a:gd name="T57" fmla="*/ 24 h 761"/>
                <a:gd name="T58" fmla="*/ 635 w 762"/>
                <a:gd name="T59" fmla="*/ 12 h 761"/>
                <a:gd name="T60" fmla="*/ 652 w 762"/>
                <a:gd name="T61" fmla="*/ 4 h 761"/>
                <a:gd name="T62" fmla="*/ 669 w 762"/>
                <a:gd name="T63" fmla="*/ 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2" h="761">
                  <a:moveTo>
                    <a:pt x="669" y="0"/>
                  </a:moveTo>
                  <a:lnTo>
                    <a:pt x="688" y="0"/>
                  </a:lnTo>
                  <a:lnTo>
                    <a:pt x="706" y="4"/>
                  </a:lnTo>
                  <a:lnTo>
                    <a:pt x="723" y="12"/>
                  </a:lnTo>
                  <a:lnTo>
                    <a:pt x="738" y="24"/>
                  </a:lnTo>
                  <a:lnTo>
                    <a:pt x="750" y="39"/>
                  </a:lnTo>
                  <a:lnTo>
                    <a:pt x="759" y="56"/>
                  </a:lnTo>
                  <a:lnTo>
                    <a:pt x="762" y="73"/>
                  </a:lnTo>
                  <a:lnTo>
                    <a:pt x="762" y="92"/>
                  </a:lnTo>
                  <a:lnTo>
                    <a:pt x="759" y="110"/>
                  </a:lnTo>
                  <a:lnTo>
                    <a:pt x="750" y="128"/>
                  </a:lnTo>
                  <a:lnTo>
                    <a:pt x="738" y="143"/>
                  </a:lnTo>
                  <a:lnTo>
                    <a:pt x="144" y="736"/>
                  </a:lnTo>
                  <a:lnTo>
                    <a:pt x="131" y="747"/>
                  </a:lnTo>
                  <a:lnTo>
                    <a:pt x="116" y="754"/>
                  </a:lnTo>
                  <a:lnTo>
                    <a:pt x="101" y="759"/>
                  </a:lnTo>
                  <a:lnTo>
                    <a:pt x="84" y="761"/>
                  </a:lnTo>
                  <a:lnTo>
                    <a:pt x="68" y="759"/>
                  </a:lnTo>
                  <a:lnTo>
                    <a:pt x="52" y="754"/>
                  </a:lnTo>
                  <a:lnTo>
                    <a:pt x="38" y="747"/>
                  </a:lnTo>
                  <a:lnTo>
                    <a:pt x="24" y="736"/>
                  </a:lnTo>
                  <a:lnTo>
                    <a:pt x="12" y="720"/>
                  </a:lnTo>
                  <a:lnTo>
                    <a:pt x="4" y="704"/>
                  </a:lnTo>
                  <a:lnTo>
                    <a:pt x="0" y="686"/>
                  </a:lnTo>
                  <a:lnTo>
                    <a:pt x="0" y="667"/>
                  </a:lnTo>
                  <a:lnTo>
                    <a:pt x="4" y="650"/>
                  </a:lnTo>
                  <a:lnTo>
                    <a:pt x="12" y="632"/>
                  </a:lnTo>
                  <a:lnTo>
                    <a:pt x="24" y="618"/>
                  </a:lnTo>
                  <a:lnTo>
                    <a:pt x="619" y="24"/>
                  </a:lnTo>
                  <a:lnTo>
                    <a:pt x="635" y="12"/>
                  </a:lnTo>
                  <a:lnTo>
                    <a:pt x="652" y="4"/>
                  </a:lnTo>
                  <a:lnTo>
                    <a:pt x="6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0" name="Freeform 9">
              <a:extLst>
                <a:ext uri="{FF2B5EF4-FFF2-40B4-BE49-F238E27FC236}">
                  <a16:creationId xmlns:a16="http://schemas.microsoft.com/office/drawing/2014/main" id="{BCC142A8-A2CF-876A-D406-5AF861B7A845}"/>
                </a:ext>
              </a:extLst>
            </p:cNvPr>
            <p:cNvSpPr>
              <a:spLocks/>
            </p:cNvSpPr>
            <p:nvPr/>
          </p:nvSpPr>
          <p:spPr bwMode="auto">
            <a:xfrm>
              <a:off x="11255375" y="2074863"/>
              <a:ext cx="65088" cy="65087"/>
            </a:xfrm>
            <a:custGeom>
              <a:avLst/>
              <a:gdLst>
                <a:gd name="T0" fmla="*/ 311 w 404"/>
                <a:gd name="T1" fmla="*/ 0 h 404"/>
                <a:gd name="T2" fmla="*/ 330 w 404"/>
                <a:gd name="T3" fmla="*/ 0 h 404"/>
                <a:gd name="T4" fmla="*/ 348 w 404"/>
                <a:gd name="T5" fmla="*/ 3 h 404"/>
                <a:gd name="T6" fmla="*/ 364 w 404"/>
                <a:gd name="T7" fmla="*/ 12 h 404"/>
                <a:gd name="T8" fmla="*/ 380 w 404"/>
                <a:gd name="T9" fmla="*/ 24 h 404"/>
                <a:gd name="T10" fmla="*/ 392 w 404"/>
                <a:gd name="T11" fmla="*/ 38 h 404"/>
                <a:gd name="T12" fmla="*/ 400 w 404"/>
                <a:gd name="T13" fmla="*/ 56 h 404"/>
                <a:gd name="T14" fmla="*/ 404 w 404"/>
                <a:gd name="T15" fmla="*/ 74 h 404"/>
                <a:gd name="T16" fmla="*/ 404 w 404"/>
                <a:gd name="T17" fmla="*/ 93 h 404"/>
                <a:gd name="T18" fmla="*/ 400 w 404"/>
                <a:gd name="T19" fmla="*/ 110 h 404"/>
                <a:gd name="T20" fmla="*/ 392 w 404"/>
                <a:gd name="T21" fmla="*/ 127 h 404"/>
                <a:gd name="T22" fmla="*/ 380 w 404"/>
                <a:gd name="T23" fmla="*/ 142 h 404"/>
                <a:gd name="T24" fmla="*/ 143 w 404"/>
                <a:gd name="T25" fmla="*/ 378 h 404"/>
                <a:gd name="T26" fmla="*/ 130 w 404"/>
                <a:gd name="T27" fmla="*/ 389 h 404"/>
                <a:gd name="T28" fmla="*/ 115 w 404"/>
                <a:gd name="T29" fmla="*/ 397 h 404"/>
                <a:gd name="T30" fmla="*/ 100 w 404"/>
                <a:gd name="T31" fmla="*/ 402 h 404"/>
                <a:gd name="T32" fmla="*/ 83 w 404"/>
                <a:gd name="T33" fmla="*/ 404 h 404"/>
                <a:gd name="T34" fmla="*/ 68 w 404"/>
                <a:gd name="T35" fmla="*/ 402 h 404"/>
                <a:gd name="T36" fmla="*/ 52 w 404"/>
                <a:gd name="T37" fmla="*/ 397 h 404"/>
                <a:gd name="T38" fmla="*/ 37 w 404"/>
                <a:gd name="T39" fmla="*/ 389 h 404"/>
                <a:gd name="T40" fmla="*/ 23 w 404"/>
                <a:gd name="T41" fmla="*/ 378 h 404"/>
                <a:gd name="T42" fmla="*/ 11 w 404"/>
                <a:gd name="T43" fmla="*/ 364 h 404"/>
                <a:gd name="T44" fmla="*/ 4 w 404"/>
                <a:gd name="T45" fmla="*/ 346 h 404"/>
                <a:gd name="T46" fmla="*/ 0 w 404"/>
                <a:gd name="T47" fmla="*/ 329 h 404"/>
                <a:gd name="T48" fmla="*/ 0 w 404"/>
                <a:gd name="T49" fmla="*/ 310 h 404"/>
                <a:gd name="T50" fmla="*/ 4 w 404"/>
                <a:gd name="T51" fmla="*/ 292 h 404"/>
                <a:gd name="T52" fmla="*/ 11 w 404"/>
                <a:gd name="T53" fmla="*/ 275 h 404"/>
                <a:gd name="T54" fmla="*/ 23 w 404"/>
                <a:gd name="T55" fmla="*/ 260 h 404"/>
                <a:gd name="T56" fmla="*/ 261 w 404"/>
                <a:gd name="T57" fmla="*/ 24 h 404"/>
                <a:gd name="T58" fmla="*/ 276 w 404"/>
                <a:gd name="T59" fmla="*/ 12 h 404"/>
                <a:gd name="T60" fmla="*/ 293 w 404"/>
                <a:gd name="T61" fmla="*/ 3 h 404"/>
                <a:gd name="T62" fmla="*/ 311 w 404"/>
                <a:gd name="T63"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4" h="404">
                  <a:moveTo>
                    <a:pt x="311" y="0"/>
                  </a:moveTo>
                  <a:lnTo>
                    <a:pt x="330" y="0"/>
                  </a:lnTo>
                  <a:lnTo>
                    <a:pt x="348" y="3"/>
                  </a:lnTo>
                  <a:lnTo>
                    <a:pt x="364" y="12"/>
                  </a:lnTo>
                  <a:lnTo>
                    <a:pt x="380" y="24"/>
                  </a:lnTo>
                  <a:lnTo>
                    <a:pt x="392" y="38"/>
                  </a:lnTo>
                  <a:lnTo>
                    <a:pt x="400" y="56"/>
                  </a:lnTo>
                  <a:lnTo>
                    <a:pt x="404" y="74"/>
                  </a:lnTo>
                  <a:lnTo>
                    <a:pt x="404" y="93"/>
                  </a:lnTo>
                  <a:lnTo>
                    <a:pt x="400" y="110"/>
                  </a:lnTo>
                  <a:lnTo>
                    <a:pt x="392" y="127"/>
                  </a:lnTo>
                  <a:lnTo>
                    <a:pt x="380" y="142"/>
                  </a:lnTo>
                  <a:lnTo>
                    <a:pt x="143" y="378"/>
                  </a:lnTo>
                  <a:lnTo>
                    <a:pt x="130" y="389"/>
                  </a:lnTo>
                  <a:lnTo>
                    <a:pt x="115" y="397"/>
                  </a:lnTo>
                  <a:lnTo>
                    <a:pt x="100" y="402"/>
                  </a:lnTo>
                  <a:lnTo>
                    <a:pt x="83" y="404"/>
                  </a:lnTo>
                  <a:lnTo>
                    <a:pt x="68" y="402"/>
                  </a:lnTo>
                  <a:lnTo>
                    <a:pt x="52" y="397"/>
                  </a:lnTo>
                  <a:lnTo>
                    <a:pt x="37" y="389"/>
                  </a:lnTo>
                  <a:lnTo>
                    <a:pt x="23" y="378"/>
                  </a:lnTo>
                  <a:lnTo>
                    <a:pt x="11" y="364"/>
                  </a:lnTo>
                  <a:lnTo>
                    <a:pt x="4" y="346"/>
                  </a:lnTo>
                  <a:lnTo>
                    <a:pt x="0" y="329"/>
                  </a:lnTo>
                  <a:lnTo>
                    <a:pt x="0" y="310"/>
                  </a:lnTo>
                  <a:lnTo>
                    <a:pt x="4" y="292"/>
                  </a:lnTo>
                  <a:lnTo>
                    <a:pt x="11" y="275"/>
                  </a:lnTo>
                  <a:lnTo>
                    <a:pt x="23" y="260"/>
                  </a:lnTo>
                  <a:lnTo>
                    <a:pt x="261" y="24"/>
                  </a:lnTo>
                  <a:lnTo>
                    <a:pt x="276" y="12"/>
                  </a:lnTo>
                  <a:lnTo>
                    <a:pt x="293" y="3"/>
                  </a:lnTo>
                  <a:lnTo>
                    <a:pt x="3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121" name="Freeform 21">
            <a:extLst>
              <a:ext uri="{FF2B5EF4-FFF2-40B4-BE49-F238E27FC236}">
                <a16:creationId xmlns:a16="http://schemas.microsoft.com/office/drawing/2014/main" id="{3B617DDF-FCC5-3C0E-C333-756CD78D1A09}"/>
              </a:ext>
            </a:extLst>
          </p:cNvPr>
          <p:cNvSpPr>
            <a:spLocks noEditPoints="1"/>
          </p:cNvSpPr>
          <p:nvPr/>
        </p:nvSpPr>
        <p:spPr bwMode="auto">
          <a:xfrm>
            <a:off x="4479723" y="2077557"/>
            <a:ext cx="792721" cy="792720"/>
          </a:xfrm>
          <a:custGeom>
            <a:avLst/>
            <a:gdLst>
              <a:gd name="T0" fmla="*/ 741 w 948"/>
              <a:gd name="T1" fmla="*/ 103 h 948"/>
              <a:gd name="T2" fmla="*/ 584 w 948"/>
              <a:gd name="T3" fmla="*/ 322 h 948"/>
              <a:gd name="T4" fmla="*/ 415 w 948"/>
              <a:gd name="T5" fmla="*/ 322 h 948"/>
              <a:gd name="T6" fmla="*/ 293 w 948"/>
              <a:gd name="T7" fmla="*/ 155 h 948"/>
              <a:gd name="T8" fmla="*/ 155 w 948"/>
              <a:gd name="T9" fmla="*/ 155 h 948"/>
              <a:gd name="T10" fmla="*/ 259 w 948"/>
              <a:gd name="T11" fmla="*/ 214 h 948"/>
              <a:gd name="T12" fmla="*/ 362 w 948"/>
              <a:gd name="T13" fmla="*/ 431 h 948"/>
              <a:gd name="T14" fmla="*/ 173 w 948"/>
              <a:gd name="T15" fmla="*/ 734 h 948"/>
              <a:gd name="T16" fmla="*/ 0 w 948"/>
              <a:gd name="T17" fmla="*/ 810 h 948"/>
              <a:gd name="T18" fmla="*/ 207 w 948"/>
              <a:gd name="T19" fmla="*/ 810 h 948"/>
              <a:gd name="T20" fmla="*/ 415 w 948"/>
              <a:gd name="T21" fmla="*/ 540 h 948"/>
              <a:gd name="T22" fmla="*/ 483 w 948"/>
              <a:gd name="T23" fmla="*/ 743 h 948"/>
              <a:gd name="T24" fmla="*/ 500 w 948"/>
              <a:gd name="T25" fmla="*/ 948 h 948"/>
              <a:gd name="T26" fmla="*/ 517 w 948"/>
              <a:gd name="T27" fmla="*/ 743 h 948"/>
              <a:gd name="T28" fmla="*/ 584 w 948"/>
              <a:gd name="T29" fmla="*/ 540 h 948"/>
              <a:gd name="T30" fmla="*/ 707 w 948"/>
              <a:gd name="T31" fmla="*/ 707 h 948"/>
              <a:gd name="T32" fmla="*/ 845 w 948"/>
              <a:gd name="T33" fmla="*/ 707 h 948"/>
              <a:gd name="T34" fmla="*/ 741 w 948"/>
              <a:gd name="T35" fmla="*/ 648 h 948"/>
              <a:gd name="T36" fmla="*/ 638 w 948"/>
              <a:gd name="T37" fmla="*/ 431 h 948"/>
              <a:gd name="T38" fmla="*/ 775 w 948"/>
              <a:gd name="T39" fmla="*/ 180 h 948"/>
              <a:gd name="T40" fmla="*/ 948 w 948"/>
              <a:gd name="T41" fmla="*/ 103 h 948"/>
              <a:gd name="T42" fmla="*/ 190 w 948"/>
              <a:gd name="T43" fmla="*/ 155 h 948"/>
              <a:gd name="T44" fmla="*/ 259 w 948"/>
              <a:gd name="T45" fmla="*/ 155 h 948"/>
              <a:gd name="T46" fmla="*/ 190 w 948"/>
              <a:gd name="T47" fmla="*/ 155 h 948"/>
              <a:gd name="T48" fmla="*/ 34 w 948"/>
              <a:gd name="T49" fmla="*/ 810 h 948"/>
              <a:gd name="T50" fmla="*/ 172 w 948"/>
              <a:gd name="T51" fmla="*/ 810 h 948"/>
              <a:gd name="T52" fmla="*/ 569 w 948"/>
              <a:gd name="T53" fmla="*/ 845 h 948"/>
              <a:gd name="T54" fmla="*/ 431 w 948"/>
              <a:gd name="T55" fmla="*/ 845 h 948"/>
              <a:gd name="T56" fmla="*/ 569 w 948"/>
              <a:gd name="T57" fmla="*/ 845 h 948"/>
              <a:gd name="T58" fmla="*/ 396 w 948"/>
              <a:gd name="T59" fmla="*/ 431 h 948"/>
              <a:gd name="T60" fmla="*/ 603 w 948"/>
              <a:gd name="T61" fmla="*/ 431 h 948"/>
              <a:gd name="T62" fmla="*/ 810 w 948"/>
              <a:gd name="T63" fmla="*/ 707 h 948"/>
              <a:gd name="T64" fmla="*/ 741 w 948"/>
              <a:gd name="T65" fmla="*/ 707 h 948"/>
              <a:gd name="T66" fmla="*/ 810 w 948"/>
              <a:gd name="T67" fmla="*/ 707 h 948"/>
              <a:gd name="T68" fmla="*/ 776 w 948"/>
              <a:gd name="T69" fmla="*/ 103 h 948"/>
              <a:gd name="T70" fmla="*/ 914 w 948"/>
              <a:gd name="T71" fmla="*/ 103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8" h="948">
                <a:moveTo>
                  <a:pt x="845" y="0"/>
                </a:moveTo>
                <a:cubicBezTo>
                  <a:pt x="788" y="0"/>
                  <a:pt x="741" y="46"/>
                  <a:pt x="741" y="103"/>
                </a:cubicBezTo>
                <a:cubicBezTo>
                  <a:pt x="741" y="121"/>
                  <a:pt x="746" y="138"/>
                  <a:pt x="754" y="153"/>
                </a:cubicBezTo>
                <a:cubicBezTo>
                  <a:pt x="584" y="322"/>
                  <a:pt x="584" y="322"/>
                  <a:pt x="584" y="322"/>
                </a:cubicBezTo>
                <a:cubicBezTo>
                  <a:pt x="561" y="304"/>
                  <a:pt x="532" y="293"/>
                  <a:pt x="500" y="293"/>
                </a:cubicBezTo>
                <a:cubicBezTo>
                  <a:pt x="468" y="293"/>
                  <a:pt x="439" y="304"/>
                  <a:pt x="415" y="322"/>
                </a:cubicBezTo>
                <a:cubicBezTo>
                  <a:pt x="283" y="190"/>
                  <a:pt x="283" y="190"/>
                  <a:pt x="283" y="190"/>
                </a:cubicBezTo>
                <a:cubicBezTo>
                  <a:pt x="289" y="180"/>
                  <a:pt x="293" y="168"/>
                  <a:pt x="293" y="155"/>
                </a:cubicBezTo>
                <a:cubicBezTo>
                  <a:pt x="293" y="117"/>
                  <a:pt x="262" y="86"/>
                  <a:pt x="224" y="86"/>
                </a:cubicBezTo>
                <a:cubicBezTo>
                  <a:pt x="186" y="86"/>
                  <a:pt x="155" y="117"/>
                  <a:pt x="155" y="155"/>
                </a:cubicBezTo>
                <a:cubicBezTo>
                  <a:pt x="155" y="193"/>
                  <a:pt x="186" y="224"/>
                  <a:pt x="224" y="224"/>
                </a:cubicBezTo>
                <a:cubicBezTo>
                  <a:pt x="237" y="224"/>
                  <a:pt x="249" y="220"/>
                  <a:pt x="259" y="214"/>
                </a:cubicBezTo>
                <a:cubicBezTo>
                  <a:pt x="391" y="346"/>
                  <a:pt x="391" y="346"/>
                  <a:pt x="391" y="346"/>
                </a:cubicBezTo>
                <a:cubicBezTo>
                  <a:pt x="373" y="370"/>
                  <a:pt x="362" y="399"/>
                  <a:pt x="362" y="431"/>
                </a:cubicBezTo>
                <a:cubicBezTo>
                  <a:pt x="362" y="463"/>
                  <a:pt x="373" y="492"/>
                  <a:pt x="391" y="515"/>
                </a:cubicBezTo>
                <a:cubicBezTo>
                  <a:pt x="173" y="734"/>
                  <a:pt x="173" y="734"/>
                  <a:pt x="173" y="734"/>
                </a:cubicBezTo>
                <a:cubicBezTo>
                  <a:pt x="154" y="717"/>
                  <a:pt x="130" y="707"/>
                  <a:pt x="103" y="707"/>
                </a:cubicBezTo>
                <a:cubicBezTo>
                  <a:pt x="46" y="707"/>
                  <a:pt x="0" y="753"/>
                  <a:pt x="0" y="810"/>
                </a:cubicBezTo>
                <a:cubicBezTo>
                  <a:pt x="0" y="867"/>
                  <a:pt x="46" y="914"/>
                  <a:pt x="103" y="914"/>
                </a:cubicBezTo>
                <a:cubicBezTo>
                  <a:pt x="160" y="914"/>
                  <a:pt x="207" y="867"/>
                  <a:pt x="207" y="810"/>
                </a:cubicBezTo>
                <a:cubicBezTo>
                  <a:pt x="207" y="792"/>
                  <a:pt x="202" y="775"/>
                  <a:pt x="194" y="761"/>
                </a:cubicBezTo>
                <a:cubicBezTo>
                  <a:pt x="415" y="540"/>
                  <a:pt x="415" y="540"/>
                  <a:pt x="415" y="540"/>
                </a:cubicBezTo>
                <a:cubicBezTo>
                  <a:pt x="435" y="555"/>
                  <a:pt x="458" y="564"/>
                  <a:pt x="483" y="568"/>
                </a:cubicBezTo>
                <a:cubicBezTo>
                  <a:pt x="483" y="743"/>
                  <a:pt x="483" y="743"/>
                  <a:pt x="483" y="743"/>
                </a:cubicBezTo>
                <a:cubicBezTo>
                  <a:pt x="434" y="751"/>
                  <a:pt x="396" y="793"/>
                  <a:pt x="396" y="845"/>
                </a:cubicBezTo>
                <a:cubicBezTo>
                  <a:pt x="396" y="902"/>
                  <a:pt x="443" y="948"/>
                  <a:pt x="500" y="948"/>
                </a:cubicBezTo>
                <a:cubicBezTo>
                  <a:pt x="557" y="948"/>
                  <a:pt x="603" y="902"/>
                  <a:pt x="603" y="845"/>
                </a:cubicBezTo>
                <a:cubicBezTo>
                  <a:pt x="603" y="793"/>
                  <a:pt x="566" y="751"/>
                  <a:pt x="517" y="743"/>
                </a:cubicBezTo>
                <a:cubicBezTo>
                  <a:pt x="517" y="568"/>
                  <a:pt x="517" y="568"/>
                  <a:pt x="517" y="568"/>
                </a:cubicBezTo>
                <a:cubicBezTo>
                  <a:pt x="542" y="564"/>
                  <a:pt x="565" y="555"/>
                  <a:pt x="584" y="540"/>
                </a:cubicBezTo>
                <a:cubicBezTo>
                  <a:pt x="716" y="672"/>
                  <a:pt x="716" y="672"/>
                  <a:pt x="716" y="672"/>
                </a:cubicBezTo>
                <a:cubicBezTo>
                  <a:pt x="710" y="682"/>
                  <a:pt x="707" y="694"/>
                  <a:pt x="707" y="707"/>
                </a:cubicBezTo>
                <a:cubicBezTo>
                  <a:pt x="707" y="745"/>
                  <a:pt x="738" y="776"/>
                  <a:pt x="776" y="776"/>
                </a:cubicBezTo>
                <a:cubicBezTo>
                  <a:pt x="814" y="776"/>
                  <a:pt x="845" y="745"/>
                  <a:pt x="845" y="707"/>
                </a:cubicBezTo>
                <a:cubicBezTo>
                  <a:pt x="845" y="669"/>
                  <a:pt x="814" y="638"/>
                  <a:pt x="776" y="638"/>
                </a:cubicBezTo>
                <a:cubicBezTo>
                  <a:pt x="763" y="638"/>
                  <a:pt x="751" y="641"/>
                  <a:pt x="741" y="648"/>
                </a:cubicBezTo>
                <a:cubicBezTo>
                  <a:pt x="609" y="515"/>
                  <a:pt x="609" y="515"/>
                  <a:pt x="609" y="515"/>
                </a:cubicBezTo>
                <a:cubicBezTo>
                  <a:pt x="627" y="492"/>
                  <a:pt x="638" y="463"/>
                  <a:pt x="638" y="431"/>
                </a:cubicBezTo>
                <a:cubicBezTo>
                  <a:pt x="638" y="399"/>
                  <a:pt x="627" y="370"/>
                  <a:pt x="609" y="347"/>
                </a:cubicBezTo>
                <a:cubicBezTo>
                  <a:pt x="775" y="180"/>
                  <a:pt x="775" y="180"/>
                  <a:pt x="775" y="180"/>
                </a:cubicBezTo>
                <a:cubicBezTo>
                  <a:pt x="794" y="197"/>
                  <a:pt x="818" y="207"/>
                  <a:pt x="845" y="207"/>
                </a:cubicBezTo>
                <a:cubicBezTo>
                  <a:pt x="902" y="207"/>
                  <a:pt x="948" y="160"/>
                  <a:pt x="948" y="103"/>
                </a:cubicBezTo>
                <a:cubicBezTo>
                  <a:pt x="948" y="46"/>
                  <a:pt x="902" y="0"/>
                  <a:pt x="845" y="0"/>
                </a:cubicBezTo>
                <a:close/>
                <a:moveTo>
                  <a:pt x="190" y="155"/>
                </a:moveTo>
                <a:cubicBezTo>
                  <a:pt x="190" y="136"/>
                  <a:pt x="205" y="121"/>
                  <a:pt x="224" y="121"/>
                </a:cubicBezTo>
                <a:cubicBezTo>
                  <a:pt x="243" y="121"/>
                  <a:pt x="259" y="136"/>
                  <a:pt x="259" y="155"/>
                </a:cubicBezTo>
                <a:cubicBezTo>
                  <a:pt x="259" y="174"/>
                  <a:pt x="243" y="190"/>
                  <a:pt x="224" y="190"/>
                </a:cubicBezTo>
                <a:cubicBezTo>
                  <a:pt x="205" y="190"/>
                  <a:pt x="190" y="174"/>
                  <a:pt x="190" y="155"/>
                </a:cubicBezTo>
                <a:close/>
                <a:moveTo>
                  <a:pt x="103" y="879"/>
                </a:moveTo>
                <a:cubicBezTo>
                  <a:pt x="65" y="879"/>
                  <a:pt x="34" y="848"/>
                  <a:pt x="34" y="810"/>
                </a:cubicBezTo>
                <a:cubicBezTo>
                  <a:pt x="34" y="772"/>
                  <a:pt x="65" y="741"/>
                  <a:pt x="103" y="741"/>
                </a:cubicBezTo>
                <a:cubicBezTo>
                  <a:pt x="141" y="741"/>
                  <a:pt x="172" y="772"/>
                  <a:pt x="172" y="810"/>
                </a:cubicBezTo>
                <a:cubicBezTo>
                  <a:pt x="172" y="848"/>
                  <a:pt x="141" y="879"/>
                  <a:pt x="103" y="879"/>
                </a:cubicBezTo>
                <a:close/>
                <a:moveTo>
                  <a:pt x="569" y="845"/>
                </a:moveTo>
                <a:cubicBezTo>
                  <a:pt x="569" y="883"/>
                  <a:pt x="538" y="914"/>
                  <a:pt x="500" y="914"/>
                </a:cubicBezTo>
                <a:cubicBezTo>
                  <a:pt x="462" y="914"/>
                  <a:pt x="431" y="883"/>
                  <a:pt x="431" y="845"/>
                </a:cubicBezTo>
                <a:cubicBezTo>
                  <a:pt x="431" y="807"/>
                  <a:pt x="462" y="776"/>
                  <a:pt x="500" y="776"/>
                </a:cubicBezTo>
                <a:cubicBezTo>
                  <a:pt x="538" y="776"/>
                  <a:pt x="569" y="807"/>
                  <a:pt x="569" y="845"/>
                </a:cubicBezTo>
                <a:close/>
                <a:moveTo>
                  <a:pt x="500" y="534"/>
                </a:moveTo>
                <a:cubicBezTo>
                  <a:pt x="443" y="534"/>
                  <a:pt x="396" y="488"/>
                  <a:pt x="396" y="431"/>
                </a:cubicBezTo>
                <a:cubicBezTo>
                  <a:pt x="396" y="374"/>
                  <a:pt x="443" y="327"/>
                  <a:pt x="500" y="327"/>
                </a:cubicBezTo>
                <a:cubicBezTo>
                  <a:pt x="557" y="327"/>
                  <a:pt x="603" y="374"/>
                  <a:pt x="603" y="431"/>
                </a:cubicBezTo>
                <a:cubicBezTo>
                  <a:pt x="603" y="488"/>
                  <a:pt x="557" y="534"/>
                  <a:pt x="500" y="534"/>
                </a:cubicBezTo>
                <a:close/>
                <a:moveTo>
                  <a:pt x="810" y="707"/>
                </a:moveTo>
                <a:cubicBezTo>
                  <a:pt x="810" y="726"/>
                  <a:pt x="795" y="741"/>
                  <a:pt x="776" y="741"/>
                </a:cubicBezTo>
                <a:cubicBezTo>
                  <a:pt x="757" y="741"/>
                  <a:pt x="741" y="726"/>
                  <a:pt x="741" y="707"/>
                </a:cubicBezTo>
                <a:cubicBezTo>
                  <a:pt x="741" y="688"/>
                  <a:pt x="757" y="672"/>
                  <a:pt x="776" y="672"/>
                </a:cubicBezTo>
                <a:cubicBezTo>
                  <a:pt x="795" y="672"/>
                  <a:pt x="810" y="688"/>
                  <a:pt x="810" y="707"/>
                </a:cubicBezTo>
                <a:close/>
                <a:moveTo>
                  <a:pt x="845" y="172"/>
                </a:moveTo>
                <a:cubicBezTo>
                  <a:pt x="807" y="172"/>
                  <a:pt x="776" y="141"/>
                  <a:pt x="776" y="103"/>
                </a:cubicBezTo>
                <a:cubicBezTo>
                  <a:pt x="776" y="65"/>
                  <a:pt x="807" y="34"/>
                  <a:pt x="845" y="34"/>
                </a:cubicBezTo>
                <a:cubicBezTo>
                  <a:pt x="883" y="34"/>
                  <a:pt x="914" y="65"/>
                  <a:pt x="914" y="103"/>
                </a:cubicBezTo>
                <a:cubicBezTo>
                  <a:pt x="914" y="141"/>
                  <a:pt x="883" y="172"/>
                  <a:pt x="845" y="1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122" name="Group 121">
            <a:extLst>
              <a:ext uri="{FF2B5EF4-FFF2-40B4-BE49-F238E27FC236}">
                <a16:creationId xmlns:a16="http://schemas.microsoft.com/office/drawing/2014/main" id="{C1A0CD12-6EC0-AAA8-75F6-1868B122E570}"/>
              </a:ext>
            </a:extLst>
          </p:cNvPr>
          <p:cNvGrpSpPr/>
          <p:nvPr/>
        </p:nvGrpSpPr>
        <p:grpSpPr>
          <a:xfrm>
            <a:off x="7526234" y="2094795"/>
            <a:ext cx="449058" cy="603956"/>
            <a:chOff x="6986985" y="3381355"/>
            <a:chExt cx="963612" cy="1044596"/>
          </a:xfrm>
          <a:solidFill>
            <a:schemeClr val="bg1"/>
          </a:solidFill>
        </p:grpSpPr>
        <p:sp>
          <p:nvSpPr>
            <p:cNvPr id="123" name="Freeform 5">
              <a:extLst>
                <a:ext uri="{FF2B5EF4-FFF2-40B4-BE49-F238E27FC236}">
                  <a16:creationId xmlns:a16="http://schemas.microsoft.com/office/drawing/2014/main" id="{D9F0EF5E-E146-9F19-44C2-2CA8B1483C05}"/>
                </a:ext>
              </a:extLst>
            </p:cNvPr>
            <p:cNvSpPr>
              <a:spLocks noEditPoints="1"/>
            </p:cNvSpPr>
            <p:nvPr/>
          </p:nvSpPr>
          <p:spPr bwMode="auto">
            <a:xfrm>
              <a:off x="7352110" y="3729038"/>
              <a:ext cx="598487" cy="696913"/>
            </a:xfrm>
            <a:custGeom>
              <a:avLst/>
              <a:gdLst>
                <a:gd name="T0" fmla="*/ 664 w 831"/>
                <a:gd name="T1" fmla="*/ 695 h 967"/>
                <a:gd name="T2" fmla="*/ 523 w 831"/>
                <a:gd name="T3" fmla="*/ 659 h 967"/>
                <a:gd name="T4" fmla="*/ 694 w 831"/>
                <a:gd name="T5" fmla="*/ 430 h 967"/>
                <a:gd name="T6" fmla="*/ 598 w 831"/>
                <a:gd name="T7" fmla="*/ 88 h 967"/>
                <a:gd name="T8" fmla="*/ 400 w 831"/>
                <a:gd name="T9" fmla="*/ 0 h 967"/>
                <a:gd name="T10" fmla="*/ 136 w 831"/>
                <a:gd name="T11" fmla="*/ 430 h 967"/>
                <a:gd name="T12" fmla="*/ 308 w 831"/>
                <a:gd name="T13" fmla="*/ 659 h 967"/>
                <a:gd name="T14" fmla="*/ 167 w 831"/>
                <a:gd name="T15" fmla="*/ 695 h 967"/>
                <a:gd name="T16" fmla="*/ 0 w 831"/>
                <a:gd name="T17" fmla="*/ 967 h 967"/>
                <a:gd name="T18" fmla="*/ 781 w 831"/>
                <a:gd name="T19" fmla="*/ 800 h 967"/>
                <a:gd name="T20" fmla="*/ 630 w 831"/>
                <a:gd name="T21" fmla="*/ 393 h 967"/>
                <a:gd name="T22" fmla="*/ 630 w 831"/>
                <a:gd name="T23" fmla="*/ 467 h 967"/>
                <a:gd name="T24" fmla="*/ 179 w 831"/>
                <a:gd name="T25" fmla="*/ 430 h 967"/>
                <a:gd name="T26" fmla="*/ 200 w 831"/>
                <a:gd name="T27" fmla="*/ 467 h 967"/>
                <a:gd name="T28" fmla="*/ 200 w 831"/>
                <a:gd name="T29" fmla="*/ 347 h 967"/>
                <a:gd name="T30" fmla="*/ 179 w 831"/>
                <a:gd name="T31" fmla="*/ 265 h 967"/>
                <a:gd name="T32" fmla="*/ 557 w 831"/>
                <a:gd name="T33" fmla="*/ 108 h 967"/>
                <a:gd name="T34" fmla="*/ 582 w 831"/>
                <a:gd name="T35" fmla="*/ 128 h 967"/>
                <a:gd name="T36" fmla="*/ 651 w 831"/>
                <a:gd name="T37" fmla="*/ 356 h 967"/>
                <a:gd name="T38" fmla="*/ 630 w 831"/>
                <a:gd name="T39" fmla="*/ 322 h 967"/>
                <a:gd name="T40" fmla="*/ 413 w 831"/>
                <a:gd name="T41" fmla="*/ 248 h 967"/>
                <a:gd name="T42" fmla="*/ 353 w 831"/>
                <a:gd name="T43" fmla="*/ 268 h 967"/>
                <a:gd name="T44" fmla="*/ 200 w 831"/>
                <a:gd name="T45" fmla="*/ 322 h 967"/>
                <a:gd name="T46" fmla="*/ 243 w 831"/>
                <a:gd name="T47" fmla="*/ 364 h 967"/>
                <a:gd name="T48" fmla="*/ 392 w 831"/>
                <a:gd name="T49" fmla="*/ 290 h 967"/>
                <a:gd name="T50" fmla="*/ 587 w 831"/>
                <a:gd name="T51" fmla="*/ 365 h 967"/>
                <a:gd name="T52" fmla="*/ 415 w 831"/>
                <a:gd name="T53" fmla="*/ 645 h 967"/>
                <a:gd name="T54" fmla="*/ 352 w 831"/>
                <a:gd name="T55" fmla="*/ 678 h 967"/>
                <a:gd name="T56" fmla="*/ 478 w 831"/>
                <a:gd name="T57" fmla="*/ 678 h 967"/>
                <a:gd name="T58" fmla="*/ 352 w 831"/>
                <a:gd name="T59" fmla="*/ 678 h 967"/>
                <a:gd name="T60" fmla="*/ 339 w 831"/>
                <a:gd name="T61" fmla="*/ 798 h 967"/>
                <a:gd name="T62" fmla="*/ 324 w 831"/>
                <a:gd name="T63" fmla="*/ 711 h 967"/>
                <a:gd name="T64" fmla="*/ 506 w 831"/>
                <a:gd name="T65" fmla="*/ 711 h 967"/>
                <a:gd name="T66" fmla="*/ 492 w 831"/>
                <a:gd name="T67" fmla="*/ 798 h 967"/>
                <a:gd name="T68" fmla="*/ 506 w 831"/>
                <a:gd name="T69" fmla="*/ 711 h 967"/>
                <a:gd name="T70" fmla="*/ 91 w 831"/>
                <a:gd name="T71" fmla="*/ 813 h 967"/>
                <a:gd name="T72" fmla="*/ 267 w 831"/>
                <a:gd name="T73" fmla="*/ 721 h 967"/>
                <a:gd name="T74" fmla="*/ 415 w 831"/>
                <a:gd name="T75" fmla="*/ 783 h 967"/>
                <a:gd name="T76" fmla="*/ 563 w 831"/>
                <a:gd name="T77" fmla="*/ 721 h 967"/>
                <a:gd name="T78" fmla="*/ 739 w 831"/>
                <a:gd name="T79" fmla="*/ 812 h 967"/>
                <a:gd name="T80" fmla="*/ 57 w 831"/>
                <a:gd name="T81" fmla="*/ 924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1" h="967">
                  <a:moveTo>
                    <a:pt x="781" y="800"/>
                  </a:moveTo>
                  <a:cubicBezTo>
                    <a:pt x="764" y="746"/>
                    <a:pt x="719" y="706"/>
                    <a:pt x="664" y="695"/>
                  </a:cubicBezTo>
                  <a:cubicBezTo>
                    <a:pt x="523" y="670"/>
                    <a:pt x="523" y="670"/>
                    <a:pt x="523" y="670"/>
                  </a:cubicBezTo>
                  <a:cubicBezTo>
                    <a:pt x="523" y="659"/>
                    <a:pt x="523" y="659"/>
                    <a:pt x="523" y="659"/>
                  </a:cubicBezTo>
                  <a:cubicBezTo>
                    <a:pt x="575" y="628"/>
                    <a:pt x="614" y="576"/>
                    <a:pt x="626" y="514"/>
                  </a:cubicBezTo>
                  <a:cubicBezTo>
                    <a:pt x="665" y="506"/>
                    <a:pt x="694" y="471"/>
                    <a:pt x="694" y="430"/>
                  </a:cubicBezTo>
                  <a:cubicBezTo>
                    <a:pt x="694" y="218"/>
                    <a:pt x="694" y="218"/>
                    <a:pt x="694" y="218"/>
                  </a:cubicBezTo>
                  <a:cubicBezTo>
                    <a:pt x="694" y="158"/>
                    <a:pt x="655" y="105"/>
                    <a:pt x="598" y="88"/>
                  </a:cubicBezTo>
                  <a:cubicBezTo>
                    <a:pt x="587" y="78"/>
                    <a:pt x="587" y="78"/>
                    <a:pt x="587" y="78"/>
                  </a:cubicBezTo>
                  <a:cubicBezTo>
                    <a:pt x="537" y="28"/>
                    <a:pt x="471" y="0"/>
                    <a:pt x="400" y="0"/>
                  </a:cubicBezTo>
                  <a:cubicBezTo>
                    <a:pt x="254" y="0"/>
                    <a:pt x="136" y="119"/>
                    <a:pt x="136" y="265"/>
                  </a:cubicBezTo>
                  <a:cubicBezTo>
                    <a:pt x="136" y="430"/>
                    <a:pt x="136" y="430"/>
                    <a:pt x="136" y="430"/>
                  </a:cubicBezTo>
                  <a:cubicBezTo>
                    <a:pt x="136" y="471"/>
                    <a:pt x="165" y="506"/>
                    <a:pt x="204" y="514"/>
                  </a:cubicBezTo>
                  <a:cubicBezTo>
                    <a:pt x="216" y="576"/>
                    <a:pt x="255" y="628"/>
                    <a:pt x="308" y="659"/>
                  </a:cubicBezTo>
                  <a:cubicBezTo>
                    <a:pt x="308" y="670"/>
                    <a:pt x="308" y="670"/>
                    <a:pt x="308" y="670"/>
                  </a:cubicBezTo>
                  <a:cubicBezTo>
                    <a:pt x="167" y="695"/>
                    <a:pt x="167" y="695"/>
                    <a:pt x="167" y="695"/>
                  </a:cubicBezTo>
                  <a:cubicBezTo>
                    <a:pt x="111" y="706"/>
                    <a:pt x="66" y="746"/>
                    <a:pt x="50" y="800"/>
                  </a:cubicBezTo>
                  <a:cubicBezTo>
                    <a:pt x="0" y="967"/>
                    <a:pt x="0" y="967"/>
                    <a:pt x="0" y="967"/>
                  </a:cubicBezTo>
                  <a:cubicBezTo>
                    <a:pt x="831" y="967"/>
                    <a:pt x="831" y="967"/>
                    <a:pt x="831" y="967"/>
                  </a:cubicBezTo>
                  <a:lnTo>
                    <a:pt x="781" y="800"/>
                  </a:lnTo>
                  <a:close/>
                  <a:moveTo>
                    <a:pt x="630" y="467"/>
                  </a:moveTo>
                  <a:cubicBezTo>
                    <a:pt x="630" y="393"/>
                    <a:pt x="630" y="393"/>
                    <a:pt x="630" y="393"/>
                  </a:cubicBezTo>
                  <a:cubicBezTo>
                    <a:pt x="643" y="400"/>
                    <a:pt x="651" y="414"/>
                    <a:pt x="651" y="430"/>
                  </a:cubicBezTo>
                  <a:cubicBezTo>
                    <a:pt x="651" y="446"/>
                    <a:pt x="643" y="459"/>
                    <a:pt x="630" y="467"/>
                  </a:cubicBezTo>
                  <a:close/>
                  <a:moveTo>
                    <a:pt x="200" y="467"/>
                  </a:moveTo>
                  <a:cubicBezTo>
                    <a:pt x="187" y="459"/>
                    <a:pt x="179" y="446"/>
                    <a:pt x="179" y="430"/>
                  </a:cubicBezTo>
                  <a:cubicBezTo>
                    <a:pt x="179" y="414"/>
                    <a:pt x="187" y="400"/>
                    <a:pt x="200" y="393"/>
                  </a:cubicBezTo>
                  <a:lnTo>
                    <a:pt x="200" y="467"/>
                  </a:lnTo>
                  <a:close/>
                  <a:moveTo>
                    <a:pt x="200" y="322"/>
                  </a:moveTo>
                  <a:cubicBezTo>
                    <a:pt x="200" y="347"/>
                    <a:pt x="200" y="347"/>
                    <a:pt x="200" y="347"/>
                  </a:cubicBezTo>
                  <a:cubicBezTo>
                    <a:pt x="193" y="349"/>
                    <a:pt x="185" y="352"/>
                    <a:pt x="179" y="356"/>
                  </a:cubicBezTo>
                  <a:cubicBezTo>
                    <a:pt x="179" y="265"/>
                    <a:pt x="179" y="265"/>
                    <a:pt x="179" y="265"/>
                  </a:cubicBezTo>
                  <a:cubicBezTo>
                    <a:pt x="179" y="143"/>
                    <a:pt x="278" y="43"/>
                    <a:pt x="400" y="43"/>
                  </a:cubicBezTo>
                  <a:cubicBezTo>
                    <a:pt x="460" y="43"/>
                    <a:pt x="515" y="66"/>
                    <a:pt x="557" y="108"/>
                  </a:cubicBezTo>
                  <a:cubicBezTo>
                    <a:pt x="576" y="127"/>
                    <a:pt x="576" y="127"/>
                    <a:pt x="576" y="127"/>
                  </a:cubicBezTo>
                  <a:cubicBezTo>
                    <a:pt x="582" y="128"/>
                    <a:pt x="582" y="128"/>
                    <a:pt x="582" y="128"/>
                  </a:cubicBezTo>
                  <a:cubicBezTo>
                    <a:pt x="623" y="139"/>
                    <a:pt x="651" y="175"/>
                    <a:pt x="651" y="218"/>
                  </a:cubicBezTo>
                  <a:cubicBezTo>
                    <a:pt x="651" y="356"/>
                    <a:pt x="651" y="356"/>
                    <a:pt x="651" y="356"/>
                  </a:cubicBezTo>
                  <a:cubicBezTo>
                    <a:pt x="645" y="352"/>
                    <a:pt x="638" y="349"/>
                    <a:pt x="630" y="347"/>
                  </a:cubicBezTo>
                  <a:cubicBezTo>
                    <a:pt x="630" y="322"/>
                    <a:pt x="630" y="322"/>
                    <a:pt x="630" y="322"/>
                  </a:cubicBezTo>
                  <a:cubicBezTo>
                    <a:pt x="562" y="322"/>
                    <a:pt x="562" y="322"/>
                    <a:pt x="562" y="322"/>
                  </a:cubicBezTo>
                  <a:cubicBezTo>
                    <a:pt x="504" y="322"/>
                    <a:pt x="448" y="295"/>
                    <a:pt x="413" y="248"/>
                  </a:cubicBezTo>
                  <a:cubicBezTo>
                    <a:pt x="396" y="225"/>
                    <a:pt x="396" y="225"/>
                    <a:pt x="396" y="225"/>
                  </a:cubicBezTo>
                  <a:cubicBezTo>
                    <a:pt x="353" y="268"/>
                    <a:pt x="353" y="268"/>
                    <a:pt x="353" y="268"/>
                  </a:cubicBezTo>
                  <a:cubicBezTo>
                    <a:pt x="318" y="303"/>
                    <a:pt x="271" y="322"/>
                    <a:pt x="222" y="322"/>
                  </a:cubicBezTo>
                  <a:lnTo>
                    <a:pt x="200" y="322"/>
                  </a:lnTo>
                  <a:close/>
                  <a:moveTo>
                    <a:pt x="243" y="473"/>
                  </a:moveTo>
                  <a:cubicBezTo>
                    <a:pt x="243" y="364"/>
                    <a:pt x="243" y="364"/>
                    <a:pt x="243" y="364"/>
                  </a:cubicBezTo>
                  <a:cubicBezTo>
                    <a:pt x="296" y="360"/>
                    <a:pt x="346" y="337"/>
                    <a:pt x="384" y="298"/>
                  </a:cubicBezTo>
                  <a:cubicBezTo>
                    <a:pt x="392" y="290"/>
                    <a:pt x="392" y="290"/>
                    <a:pt x="392" y="290"/>
                  </a:cubicBezTo>
                  <a:cubicBezTo>
                    <a:pt x="435" y="338"/>
                    <a:pt x="497" y="365"/>
                    <a:pt x="562" y="365"/>
                  </a:cubicBezTo>
                  <a:cubicBezTo>
                    <a:pt x="587" y="365"/>
                    <a:pt x="587" y="365"/>
                    <a:pt x="587" y="365"/>
                  </a:cubicBezTo>
                  <a:cubicBezTo>
                    <a:pt x="587" y="473"/>
                    <a:pt x="587" y="473"/>
                    <a:pt x="587" y="473"/>
                  </a:cubicBezTo>
                  <a:cubicBezTo>
                    <a:pt x="587" y="568"/>
                    <a:pt x="510" y="645"/>
                    <a:pt x="415" y="645"/>
                  </a:cubicBezTo>
                  <a:cubicBezTo>
                    <a:pt x="320" y="645"/>
                    <a:pt x="243" y="568"/>
                    <a:pt x="243" y="473"/>
                  </a:cubicBezTo>
                  <a:close/>
                  <a:moveTo>
                    <a:pt x="352" y="678"/>
                  </a:moveTo>
                  <a:cubicBezTo>
                    <a:pt x="372" y="684"/>
                    <a:pt x="393" y="688"/>
                    <a:pt x="415" y="688"/>
                  </a:cubicBezTo>
                  <a:cubicBezTo>
                    <a:pt x="437" y="688"/>
                    <a:pt x="458" y="684"/>
                    <a:pt x="478" y="678"/>
                  </a:cubicBezTo>
                  <a:cubicBezTo>
                    <a:pt x="415" y="725"/>
                    <a:pt x="415" y="725"/>
                    <a:pt x="415" y="725"/>
                  </a:cubicBezTo>
                  <a:lnTo>
                    <a:pt x="352" y="678"/>
                  </a:lnTo>
                  <a:close/>
                  <a:moveTo>
                    <a:pt x="382" y="754"/>
                  </a:moveTo>
                  <a:cubicBezTo>
                    <a:pt x="339" y="798"/>
                    <a:pt x="339" y="798"/>
                    <a:pt x="339" y="798"/>
                  </a:cubicBezTo>
                  <a:cubicBezTo>
                    <a:pt x="310" y="713"/>
                    <a:pt x="310" y="713"/>
                    <a:pt x="310" y="713"/>
                  </a:cubicBezTo>
                  <a:cubicBezTo>
                    <a:pt x="324" y="711"/>
                    <a:pt x="324" y="711"/>
                    <a:pt x="324" y="711"/>
                  </a:cubicBezTo>
                  <a:lnTo>
                    <a:pt x="382" y="754"/>
                  </a:lnTo>
                  <a:close/>
                  <a:moveTo>
                    <a:pt x="506" y="711"/>
                  </a:moveTo>
                  <a:cubicBezTo>
                    <a:pt x="520" y="713"/>
                    <a:pt x="520" y="713"/>
                    <a:pt x="520" y="713"/>
                  </a:cubicBezTo>
                  <a:cubicBezTo>
                    <a:pt x="492" y="798"/>
                    <a:pt x="492" y="798"/>
                    <a:pt x="492" y="798"/>
                  </a:cubicBezTo>
                  <a:cubicBezTo>
                    <a:pt x="448" y="755"/>
                    <a:pt x="448" y="755"/>
                    <a:pt x="448" y="755"/>
                  </a:cubicBezTo>
                  <a:lnTo>
                    <a:pt x="506" y="711"/>
                  </a:lnTo>
                  <a:close/>
                  <a:moveTo>
                    <a:pt x="57" y="924"/>
                  </a:moveTo>
                  <a:cubicBezTo>
                    <a:pt x="91" y="813"/>
                    <a:pt x="91" y="813"/>
                    <a:pt x="91" y="813"/>
                  </a:cubicBezTo>
                  <a:cubicBezTo>
                    <a:pt x="102" y="774"/>
                    <a:pt x="134" y="745"/>
                    <a:pt x="174" y="738"/>
                  </a:cubicBezTo>
                  <a:cubicBezTo>
                    <a:pt x="267" y="721"/>
                    <a:pt x="267" y="721"/>
                    <a:pt x="267" y="721"/>
                  </a:cubicBezTo>
                  <a:cubicBezTo>
                    <a:pt x="320" y="878"/>
                    <a:pt x="320" y="878"/>
                    <a:pt x="320" y="878"/>
                  </a:cubicBezTo>
                  <a:cubicBezTo>
                    <a:pt x="415" y="783"/>
                    <a:pt x="415" y="783"/>
                    <a:pt x="415" y="783"/>
                  </a:cubicBezTo>
                  <a:cubicBezTo>
                    <a:pt x="510" y="878"/>
                    <a:pt x="510" y="878"/>
                    <a:pt x="510" y="878"/>
                  </a:cubicBezTo>
                  <a:cubicBezTo>
                    <a:pt x="563" y="721"/>
                    <a:pt x="563" y="721"/>
                    <a:pt x="563" y="721"/>
                  </a:cubicBezTo>
                  <a:cubicBezTo>
                    <a:pt x="656" y="738"/>
                    <a:pt x="656" y="738"/>
                    <a:pt x="656" y="738"/>
                  </a:cubicBezTo>
                  <a:cubicBezTo>
                    <a:pt x="696" y="745"/>
                    <a:pt x="728" y="774"/>
                    <a:pt x="739" y="812"/>
                  </a:cubicBezTo>
                  <a:cubicBezTo>
                    <a:pt x="773" y="924"/>
                    <a:pt x="773" y="924"/>
                    <a:pt x="773" y="924"/>
                  </a:cubicBezTo>
                  <a:cubicBezTo>
                    <a:pt x="57" y="924"/>
                    <a:pt x="57" y="924"/>
                    <a:pt x="57" y="9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4" name="Freeform 8">
              <a:extLst>
                <a:ext uri="{FF2B5EF4-FFF2-40B4-BE49-F238E27FC236}">
                  <a16:creationId xmlns:a16="http://schemas.microsoft.com/office/drawing/2014/main" id="{DE1409AC-3A92-8C63-9E9C-F12E3A42A709}"/>
                </a:ext>
              </a:extLst>
            </p:cNvPr>
            <p:cNvSpPr>
              <a:spLocks/>
            </p:cNvSpPr>
            <p:nvPr/>
          </p:nvSpPr>
          <p:spPr bwMode="auto">
            <a:xfrm>
              <a:off x="7652147" y="3467100"/>
              <a:ext cx="288925" cy="268288"/>
            </a:xfrm>
            <a:custGeom>
              <a:avLst/>
              <a:gdLst>
                <a:gd name="T0" fmla="*/ 372 w 402"/>
                <a:gd name="T1" fmla="*/ 264 h 374"/>
                <a:gd name="T2" fmla="*/ 344 w 402"/>
                <a:gd name="T3" fmla="*/ 292 h 374"/>
                <a:gd name="T4" fmla="*/ 344 w 402"/>
                <a:gd name="T5" fmla="*/ 215 h 374"/>
                <a:gd name="T6" fmla="*/ 129 w 402"/>
                <a:gd name="T7" fmla="*/ 0 h 374"/>
                <a:gd name="T8" fmla="*/ 0 w 402"/>
                <a:gd name="T9" fmla="*/ 0 h 374"/>
                <a:gd name="T10" fmla="*/ 0 w 402"/>
                <a:gd name="T11" fmla="*/ 43 h 374"/>
                <a:gd name="T12" fmla="*/ 129 w 402"/>
                <a:gd name="T13" fmla="*/ 43 h 374"/>
                <a:gd name="T14" fmla="*/ 301 w 402"/>
                <a:gd name="T15" fmla="*/ 215 h 374"/>
                <a:gd name="T16" fmla="*/ 301 w 402"/>
                <a:gd name="T17" fmla="*/ 292 h 374"/>
                <a:gd name="T18" fmla="*/ 273 w 402"/>
                <a:gd name="T19" fmla="*/ 264 h 374"/>
                <a:gd name="T20" fmla="*/ 243 w 402"/>
                <a:gd name="T21" fmla="*/ 294 h 374"/>
                <a:gd name="T22" fmla="*/ 322 w 402"/>
                <a:gd name="T23" fmla="*/ 374 h 374"/>
                <a:gd name="T24" fmla="*/ 402 w 402"/>
                <a:gd name="T25" fmla="*/ 294 h 374"/>
                <a:gd name="T26" fmla="*/ 372 w 402"/>
                <a:gd name="T27" fmla="*/ 26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2" h="374">
                  <a:moveTo>
                    <a:pt x="372" y="264"/>
                  </a:moveTo>
                  <a:cubicBezTo>
                    <a:pt x="344" y="292"/>
                    <a:pt x="344" y="292"/>
                    <a:pt x="344" y="292"/>
                  </a:cubicBezTo>
                  <a:cubicBezTo>
                    <a:pt x="344" y="215"/>
                    <a:pt x="344" y="215"/>
                    <a:pt x="344" y="215"/>
                  </a:cubicBezTo>
                  <a:cubicBezTo>
                    <a:pt x="344" y="96"/>
                    <a:pt x="247" y="0"/>
                    <a:pt x="129" y="0"/>
                  </a:cubicBezTo>
                  <a:cubicBezTo>
                    <a:pt x="0" y="0"/>
                    <a:pt x="0" y="0"/>
                    <a:pt x="0" y="0"/>
                  </a:cubicBezTo>
                  <a:cubicBezTo>
                    <a:pt x="0" y="43"/>
                    <a:pt x="0" y="43"/>
                    <a:pt x="0" y="43"/>
                  </a:cubicBezTo>
                  <a:cubicBezTo>
                    <a:pt x="129" y="43"/>
                    <a:pt x="129" y="43"/>
                    <a:pt x="129" y="43"/>
                  </a:cubicBezTo>
                  <a:cubicBezTo>
                    <a:pt x="224" y="43"/>
                    <a:pt x="301" y="120"/>
                    <a:pt x="301" y="215"/>
                  </a:cubicBezTo>
                  <a:cubicBezTo>
                    <a:pt x="301" y="292"/>
                    <a:pt x="301" y="292"/>
                    <a:pt x="301" y="292"/>
                  </a:cubicBezTo>
                  <a:cubicBezTo>
                    <a:pt x="273" y="264"/>
                    <a:pt x="273" y="264"/>
                    <a:pt x="273" y="264"/>
                  </a:cubicBezTo>
                  <a:cubicBezTo>
                    <a:pt x="243" y="294"/>
                    <a:pt x="243" y="294"/>
                    <a:pt x="243" y="294"/>
                  </a:cubicBezTo>
                  <a:cubicBezTo>
                    <a:pt x="322" y="374"/>
                    <a:pt x="322" y="374"/>
                    <a:pt x="322" y="374"/>
                  </a:cubicBezTo>
                  <a:cubicBezTo>
                    <a:pt x="402" y="294"/>
                    <a:pt x="402" y="294"/>
                    <a:pt x="402" y="294"/>
                  </a:cubicBezTo>
                  <a:lnTo>
                    <a:pt x="3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5" name="Freeform 9">
              <a:extLst>
                <a:ext uri="{FF2B5EF4-FFF2-40B4-BE49-F238E27FC236}">
                  <a16:creationId xmlns:a16="http://schemas.microsoft.com/office/drawing/2014/main" id="{6F7AF4A2-434A-E270-0C62-0C114EAB1A1F}"/>
                </a:ext>
              </a:extLst>
            </p:cNvPr>
            <p:cNvSpPr>
              <a:spLocks/>
            </p:cNvSpPr>
            <p:nvPr/>
          </p:nvSpPr>
          <p:spPr bwMode="auto">
            <a:xfrm>
              <a:off x="6991747" y="4156075"/>
              <a:ext cx="196850" cy="269875"/>
            </a:xfrm>
            <a:custGeom>
              <a:avLst/>
              <a:gdLst>
                <a:gd name="T0" fmla="*/ 101 w 273"/>
                <a:gd name="T1" fmla="*/ 159 h 374"/>
                <a:gd name="T2" fmla="*/ 101 w 273"/>
                <a:gd name="T3" fmla="*/ 82 h 374"/>
                <a:gd name="T4" fmla="*/ 129 w 273"/>
                <a:gd name="T5" fmla="*/ 110 h 374"/>
                <a:gd name="T6" fmla="*/ 159 w 273"/>
                <a:gd name="T7" fmla="*/ 80 h 374"/>
                <a:gd name="T8" fmla="*/ 79 w 273"/>
                <a:gd name="T9" fmla="*/ 0 h 374"/>
                <a:gd name="T10" fmla="*/ 0 w 273"/>
                <a:gd name="T11" fmla="*/ 80 h 374"/>
                <a:gd name="T12" fmla="*/ 30 w 273"/>
                <a:gd name="T13" fmla="*/ 110 h 374"/>
                <a:gd name="T14" fmla="*/ 58 w 273"/>
                <a:gd name="T15" fmla="*/ 82 h 374"/>
                <a:gd name="T16" fmla="*/ 58 w 273"/>
                <a:gd name="T17" fmla="*/ 159 h 374"/>
                <a:gd name="T18" fmla="*/ 273 w 273"/>
                <a:gd name="T19" fmla="*/ 374 h 374"/>
                <a:gd name="T20" fmla="*/ 273 w 273"/>
                <a:gd name="T21" fmla="*/ 331 h 374"/>
                <a:gd name="T22" fmla="*/ 101 w 273"/>
                <a:gd name="T23" fmla="*/ 159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74">
                  <a:moveTo>
                    <a:pt x="101" y="159"/>
                  </a:moveTo>
                  <a:cubicBezTo>
                    <a:pt x="101" y="82"/>
                    <a:pt x="101" y="82"/>
                    <a:pt x="101" y="82"/>
                  </a:cubicBezTo>
                  <a:cubicBezTo>
                    <a:pt x="129" y="110"/>
                    <a:pt x="129" y="110"/>
                    <a:pt x="129" y="110"/>
                  </a:cubicBezTo>
                  <a:cubicBezTo>
                    <a:pt x="159" y="80"/>
                    <a:pt x="159" y="80"/>
                    <a:pt x="159" y="80"/>
                  </a:cubicBezTo>
                  <a:cubicBezTo>
                    <a:pt x="79" y="0"/>
                    <a:pt x="79" y="0"/>
                    <a:pt x="79" y="0"/>
                  </a:cubicBezTo>
                  <a:cubicBezTo>
                    <a:pt x="0" y="80"/>
                    <a:pt x="0" y="80"/>
                    <a:pt x="0" y="80"/>
                  </a:cubicBezTo>
                  <a:cubicBezTo>
                    <a:pt x="30" y="110"/>
                    <a:pt x="30" y="110"/>
                    <a:pt x="30" y="110"/>
                  </a:cubicBezTo>
                  <a:cubicBezTo>
                    <a:pt x="58" y="82"/>
                    <a:pt x="58" y="82"/>
                    <a:pt x="58" y="82"/>
                  </a:cubicBezTo>
                  <a:cubicBezTo>
                    <a:pt x="58" y="159"/>
                    <a:pt x="58" y="159"/>
                    <a:pt x="58" y="159"/>
                  </a:cubicBezTo>
                  <a:cubicBezTo>
                    <a:pt x="58" y="278"/>
                    <a:pt x="154" y="374"/>
                    <a:pt x="273" y="374"/>
                  </a:cubicBezTo>
                  <a:cubicBezTo>
                    <a:pt x="273" y="331"/>
                    <a:pt x="273" y="331"/>
                    <a:pt x="273" y="331"/>
                  </a:cubicBezTo>
                  <a:cubicBezTo>
                    <a:pt x="178" y="331"/>
                    <a:pt x="101" y="254"/>
                    <a:pt x="101"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6" name="Rectangle 125">
              <a:extLst>
                <a:ext uri="{FF2B5EF4-FFF2-40B4-BE49-F238E27FC236}">
                  <a16:creationId xmlns:a16="http://schemas.microsoft.com/office/drawing/2014/main" id="{60A4A46C-D05C-183C-59C0-6304AB59C083}"/>
                </a:ext>
              </a:extLst>
            </p:cNvPr>
            <p:cNvSpPr>
              <a:spLocks noChangeArrowheads="1"/>
            </p:cNvSpPr>
            <p:nvPr/>
          </p:nvSpPr>
          <p:spPr bwMode="auto">
            <a:xfrm>
              <a:off x="6986985" y="3930650"/>
              <a:ext cx="401637"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F8C52EDE-8B30-795E-0CC7-874B7D498861}"/>
                </a:ext>
              </a:extLst>
            </p:cNvPr>
            <p:cNvSpPr>
              <a:spLocks noChangeArrowheads="1"/>
            </p:cNvSpPr>
            <p:nvPr/>
          </p:nvSpPr>
          <p:spPr bwMode="auto">
            <a:xfrm>
              <a:off x="6986985" y="4054475"/>
              <a:ext cx="401637"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8" name="Rectangle 127">
              <a:extLst>
                <a:ext uri="{FF2B5EF4-FFF2-40B4-BE49-F238E27FC236}">
                  <a16:creationId xmlns:a16="http://schemas.microsoft.com/office/drawing/2014/main" id="{9DDD611F-8AB8-38A4-2BF1-D7E0A839D471}"/>
                </a:ext>
              </a:extLst>
            </p:cNvPr>
            <p:cNvSpPr>
              <a:spLocks noChangeArrowheads="1"/>
            </p:cNvSpPr>
            <p:nvPr/>
          </p:nvSpPr>
          <p:spPr bwMode="auto">
            <a:xfrm>
              <a:off x="6986985" y="3992563"/>
              <a:ext cx="185737"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9" name="Freeform 13">
              <a:extLst>
                <a:ext uri="{FF2B5EF4-FFF2-40B4-BE49-F238E27FC236}">
                  <a16:creationId xmlns:a16="http://schemas.microsoft.com/office/drawing/2014/main" id="{B03B7BE0-E0A2-4F1E-09AC-9FCA65FAE29E}"/>
                </a:ext>
              </a:extLst>
            </p:cNvPr>
            <p:cNvSpPr>
              <a:spLocks/>
            </p:cNvSpPr>
            <p:nvPr/>
          </p:nvSpPr>
          <p:spPr bwMode="auto">
            <a:xfrm>
              <a:off x="7202885" y="3992563"/>
              <a:ext cx="185737" cy="30163"/>
            </a:xfrm>
            <a:custGeom>
              <a:avLst/>
              <a:gdLst>
                <a:gd name="T0" fmla="*/ 56 w 117"/>
                <a:gd name="T1" fmla="*/ 0 h 19"/>
                <a:gd name="T2" fmla="*/ 10 w 117"/>
                <a:gd name="T3" fmla="*/ 0 h 19"/>
                <a:gd name="T4" fmla="*/ 0 w 117"/>
                <a:gd name="T5" fmla="*/ 0 h 19"/>
                <a:gd name="T6" fmla="*/ 0 w 117"/>
                <a:gd name="T7" fmla="*/ 19 h 19"/>
                <a:gd name="T8" fmla="*/ 10 w 117"/>
                <a:gd name="T9" fmla="*/ 19 h 19"/>
                <a:gd name="T10" fmla="*/ 56 w 117"/>
                <a:gd name="T11" fmla="*/ 19 h 19"/>
                <a:gd name="T12" fmla="*/ 117 w 117"/>
                <a:gd name="T13" fmla="*/ 19 h 19"/>
                <a:gd name="T14" fmla="*/ 117 w 117"/>
                <a:gd name="T15" fmla="*/ 0 h 19"/>
                <a:gd name="T16" fmla="*/ 56 w 1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9">
                  <a:moveTo>
                    <a:pt x="56" y="0"/>
                  </a:moveTo>
                  <a:lnTo>
                    <a:pt x="10" y="0"/>
                  </a:lnTo>
                  <a:lnTo>
                    <a:pt x="0" y="0"/>
                  </a:lnTo>
                  <a:lnTo>
                    <a:pt x="0" y="19"/>
                  </a:lnTo>
                  <a:lnTo>
                    <a:pt x="10" y="19"/>
                  </a:lnTo>
                  <a:lnTo>
                    <a:pt x="56" y="19"/>
                  </a:lnTo>
                  <a:lnTo>
                    <a:pt x="117" y="19"/>
                  </a:lnTo>
                  <a:lnTo>
                    <a:pt x="117"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0" name="Rectangle 14">
              <a:extLst>
                <a:ext uri="{FF2B5EF4-FFF2-40B4-BE49-F238E27FC236}">
                  <a16:creationId xmlns:a16="http://schemas.microsoft.com/office/drawing/2014/main" id="{E59796D6-FE1C-4D6A-1C83-1A386E6B54FA}"/>
                </a:ext>
              </a:extLst>
            </p:cNvPr>
            <p:cNvSpPr>
              <a:spLocks noChangeArrowheads="1"/>
            </p:cNvSpPr>
            <p:nvPr/>
          </p:nvSpPr>
          <p:spPr bwMode="auto">
            <a:xfrm>
              <a:off x="7590235" y="3467100"/>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1" name="Rectangle 15">
              <a:extLst>
                <a:ext uri="{FF2B5EF4-FFF2-40B4-BE49-F238E27FC236}">
                  <a16:creationId xmlns:a16="http://schemas.microsoft.com/office/drawing/2014/main" id="{07024322-CE57-D333-7353-C7E16EB84247}"/>
                </a:ext>
              </a:extLst>
            </p:cNvPr>
            <p:cNvSpPr>
              <a:spLocks noChangeArrowheads="1"/>
            </p:cNvSpPr>
            <p:nvPr/>
          </p:nvSpPr>
          <p:spPr bwMode="auto">
            <a:xfrm>
              <a:off x="7528322" y="3467100"/>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2" name="Rectangle 16">
              <a:extLst>
                <a:ext uri="{FF2B5EF4-FFF2-40B4-BE49-F238E27FC236}">
                  <a16:creationId xmlns:a16="http://schemas.microsoft.com/office/drawing/2014/main" id="{84234C28-7501-11F9-CFEA-50AB17D2D6C5}"/>
                </a:ext>
              </a:extLst>
            </p:cNvPr>
            <p:cNvSpPr>
              <a:spLocks noChangeArrowheads="1"/>
            </p:cNvSpPr>
            <p:nvPr/>
          </p:nvSpPr>
          <p:spPr bwMode="auto">
            <a:xfrm>
              <a:off x="7218760" y="4394200"/>
              <a:ext cx="31750"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3" name="Rectangle 17">
              <a:extLst>
                <a:ext uri="{FF2B5EF4-FFF2-40B4-BE49-F238E27FC236}">
                  <a16:creationId xmlns:a16="http://schemas.microsoft.com/office/drawing/2014/main" id="{5B93F0FF-6293-ECF8-40CA-364746B5691B}"/>
                </a:ext>
              </a:extLst>
            </p:cNvPr>
            <p:cNvSpPr>
              <a:spLocks noChangeArrowheads="1"/>
            </p:cNvSpPr>
            <p:nvPr/>
          </p:nvSpPr>
          <p:spPr bwMode="auto">
            <a:xfrm>
              <a:off x="7280672" y="4394200"/>
              <a:ext cx="30162"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134" name="Group 133">
              <a:extLst>
                <a:ext uri="{FF2B5EF4-FFF2-40B4-BE49-F238E27FC236}">
                  <a16:creationId xmlns:a16="http://schemas.microsoft.com/office/drawing/2014/main" id="{7D2ADA05-605D-F9C9-EF07-388AC3B206D7}"/>
                </a:ext>
              </a:extLst>
            </p:cNvPr>
            <p:cNvGrpSpPr/>
            <p:nvPr/>
          </p:nvGrpSpPr>
          <p:grpSpPr>
            <a:xfrm>
              <a:off x="7005311" y="3381355"/>
              <a:ext cx="371428" cy="421894"/>
              <a:chOff x="-1030288" y="2389188"/>
              <a:chExt cx="876300" cy="995362"/>
            </a:xfrm>
            <a:grpFill/>
          </p:grpSpPr>
          <p:sp>
            <p:nvSpPr>
              <p:cNvPr id="135" name="Freeform 14">
                <a:extLst>
                  <a:ext uri="{FF2B5EF4-FFF2-40B4-BE49-F238E27FC236}">
                    <a16:creationId xmlns:a16="http://schemas.microsoft.com/office/drawing/2014/main" id="{3F544A83-0C0F-BD3B-A37A-BAF298F3AD61}"/>
                  </a:ext>
                </a:extLst>
              </p:cNvPr>
              <p:cNvSpPr>
                <a:spLocks noEditPoints="1"/>
              </p:cNvSpPr>
              <p:nvPr/>
            </p:nvSpPr>
            <p:spPr bwMode="auto">
              <a:xfrm>
                <a:off x="-1030288" y="2565400"/>
                <a:ext cx="876300" cy="819150"/>
              </a:xfrm>
              <a:custGeom>
                <a:avLst/>
                <a:gdLst>
                  <a:gd name="T0" fmla="*/ 1182 w 1182"/>
                  <a:gd name="T1" fmla="*/ 514 h 1105"/>
                  <a:gd name="T2" fmla="*/ 834 w 1182"/>
                  <a:gd name="T3" fmla="*/ 396 h 1105"/>
                  <a:gd name="T4" fmla="*/ 867 w 1182"/>
                  <a:gd name="T5" fmla="*/ 157 h 1105"/>
                  <a:gd name="T6" fmla="*/ 670 w 1182"/>
                  <a:gd name="T7" fmla="*/ 0 h 1105"/>
                  <a:gd name="T8" fmla="*/ 610 w 1182"/>
                  <a:gd name="T9" fmla="*/ 116 h 1105"/>
                  <a:gd name="T10" fmla="*/ 276 w 1182"/>
                  <a:gd name="T11" fmla="*/ 318 h 1105"/>
                  <a:gd name="T12" fmla="*/ 0 w 1182"/>
                  <a:gd name="T13" fmla="*/ 357 h 1105"/>
                  <a:gd name="T14" fmla="*/ 40 w 1182"/>
                  <a:gd name="T15" fmla="*/ 1105 h 1105"/>
                  <a:gd name="T16" fmla="*/ 383 w 1182"/>
                  <a:gd name="T17" fmla="*/ 1038 h 1105"/>
                  <a:gd name="T18" fmla="*/ 655 w 1182"/>
                  <a:gd name="T19" fmla="*/ 1105 h 1105"/>
                  <a:gd name="T20" fmla="*/ 1103 w 1182"/>
                  <a:gd name="T21" fmla="*/ 987 h 1105"/>
                  <a:gd name="T22" fmla="*/ 1182 w 1182"/>
                  <a:gd name="T23" fmla="*/ 829 h 1105"/>
                  <a:gd name="T24" fmla="*/ 1182 w 1182"/>
                  <a:gd name="T25" fmla="*/ 672 h 1105"/>
                  <a:gd name="T26" fmla="*/ 315 w 1182"/>
                  <a:gd name="T27" fmla="*/ 987 h 1105"/>
                  <a:gd name="T28" fmla="*/ 79 w 1182"/>
                  <a:gd name="T29" fmla="*/ 1026 h 1105"/>
                  <a:gd name="T30" fmla="*/ 276 w 1182"/>
                  <a:gd name="T31" fmla="*/ 396 h 1105"/>
                  <a:gd name="T32" fmla="*/ 315 w 1182"/>
                  <a:gd name="T33" fmla="*/ 987 h 1105"/>
                  <a:gd name="T34" fmla="*/ 1063 w 1182"/>
                  <a:gd name="T35" fmla="*/ 632 h 1105"/>
                  <a:gd name="T36" fmla="*/ 1063 w 1182"/>
                  <a:gd name="T37" fmla="*/ 711 h 1105"/>
                  <a:gd name="T38" fmla="*/ 945 w 1182"/>
                  <a:gd name="T39" fmla="*/ 751 h 1105"/>
                  <a:gd name="T40" fmla="*/ 1063 w 1182"/>
                  <a:gd name="T41" fmla="*/ 790 h 1105"/>
                  <a:gd name="T42" fmla="*/ 1063 w 1182"/>
                  <a:gd name="T43" fmla="*/ 869 h 1105"/>
                  <a:gd name="T44" fmla="*/ 945 w 1182"/>
                  <a:gd name="T45" fmla="*/ 908 h 1105"/>
                  <a:gd name="T46" fmla="*/ 1024 w 1182"/>
                  <a:gd name="T47" fmla="*/ 987 h 1105"/>
                  <a:gd name="T48" fmla="*/ 655 w 1182"/>
                  <a:gd name="T49" fmla="*/ 1026 h 1105"/>
                  <a:gd name="T50" fmla="*/ 394 w 1182"/>
                  <a:gd name="T51" fmla="*/ 958 h 1105"/>
                  <a:gd name="T52" fmla="*/ 571 w 1182"/>
                  <a:gd name="T53" fmla="*/ 356 h 1105"/>
                  <a:gd name="T54" fmla="*/ 700 w 1182"/>
                  <a:gd name="T55" fmla="*/ 79 h 1105"/>
                  <a:gd name="T56" fmla="*/ 788 w 1182"/>
                  <a:gd name="T57" fmla="*/ 157 h 1105"/>
                  <a:gd name="T58" fmla="*/ 750 w 1182"/>
                  <a:gd name="T59" fmla="*/ 396 h 1105"/>
                  <a:gd name="T60" fmla="*/ 630 w 1182"/>
                  <a:gd name="T61" fmla="*/ 436 h 1105"/>
                  <a:gd name="T62" fmla="*/ 1063 w 1182"/>
                  <a:gd name="T63" fmla="*/ 475 h 1105"/>
                  <a:gd name="T64" fmla="*/ 1063 w 1182"/>
                  <a:gd name="T65" fmla="*/ 554 h 1105"/>
                  <a:gd name="T66" fmla="*/ 945 w 1182"/>
                  <a:gd name="T67" fmla="*/ 593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2" h="1105">
                    <a:moveTo>
                      <a:pt x="1151" y="593"/>
                    </a:moveTo>
                    <a:cubicBezTo>
                      <a:pt x="1170" y="572"/>
                      <a:pt x="1182" y="545"/>
                      <a:pt x="1182" y="514"/>
                    </a:cubicBezTo>
                    <a:cubicBezTo>
                      <a:pt x="1182" y="449"/>
                      <a:pt x="1129" y="396"/>
                      <a:pt x="1063" y="396"/>
                    </a:cubicBezTo>
                    <a:cubicBezTo>
                      <a:pt x="834" y="396"/>
                      <a:pt x="834" y="396"/>
                      <a:pt x="834" y="396"/>
                    </a:cubicBezTo>
                    <a:cubicBezTo>
                      <a:pt x="857" y="327"/>
                      <a:pt x="867" y="236"/>
                      <a:pt x="867" y="197"/>
                    </a:cubicBezTo>
                    <a:cubicBezTo>
                      <a:pt x="867" y="157"/>
                      <a:pt x="867" y="157"/>
                      <a:pt x="867" y="157"/>
                    </a:cubicBezTo>
                    <a:cubicBezTo>
                      <a:pt x="867" y="71"/>
                      <a:pt x="796" y="0"/>
                      <a:pt x="709" y="0"/>
                    </a:cubicBezTo>
                    <a:cubicBezTo>
                      <a:pt x="670" y="0"/>
                      <a:pt x="670" y="0"/>
                      <a:pt x="670" y="0"/>
                    </a:cubicBezTo>
                    <a:cubicBezTo>
                      <a:pt x="652" y="0"/>
                      <a:pt x="636" y="12"/>
                      <a:pt x="632" y="30"/>
                    </a:cubicBezTo>
                    <a:cubicBezTo>
                      <a:pt x="610" y="116"/>
                      <a:pt x="610" y="116"/>
                      <a:pt x="610" y="116"/>
                    </a:cubicBezTo>
                    <a:cubicBezTo>
                      <a:pt x="580" y="236"/>
                      <a:pt x="485" y="368"/>
                      <a:pt x="386" y="392"/>
                    </a:cubicBezTo>
                    <a:cubicBezTo>
                      <a:pt x="369" y="349"/>
                      <a:pt x="326" y="318"/>
                      <a:pt x="276" y="318"/>
                    </a:cubicBezTo>
                    <a:cubicBezTo>
                      <a:pt x="40" y="318"/>
                      <a:pt x="40" y="318"/>
                      <a:pt x="40" y="318"/>
                    </a:cubicBezTo>
                    <a:cubicBezTo>
                      <a:pt x="18" y="318"/>
                      <a:pt x="0" y="335"/>
                      <a:pt x="0" y="357"/>
                    </a:cubicBezTo>
                    <a:cubicBezTo>
                      <a:pt x="0" y="1066"/>
                      <a:pt x="0" y="1066"/>
                      <a:pt x="0" y="1066"/>
                    </a:cubicBezTo>
                    <a:cubicBezTo>
                      <a:pt x="0" y="1087"/>
                      <a:pt x="18" y="1105"/>
                      <a:pt x="40" y="1105"/>
                    </a:cubicBezTo>
                    <a:cubicBezTo>
                      <a:pt x="276" y="1105"/>
                      <a:pt x="276" y="1105"/>
                      <a:pt x="276" y="1105"/>
                    </a:cubicBezTo>
                    <a:cubicBezTo>
                      <a:pt x="323" y="1105"/>
                      <a:pt x="364" y="1077"/>
                      <a:pt x="383" y="1038"/>
                    </a:cubicBezTo>
                    <a:cubicBezTo>
                      <a:pt x="518" y="1083"/>
                      <a:pt x="518" y="1083"/>
                      <a:pt x="518" y="1083"/>
                    </a:cubicBezTo>
                    <a:cubicBezTo>
                      <a:pt x="562" y="1097"/>
                      <a:pt x="608" y="1105"/>
                      <a:pt x="655" y="1105"/>
                    </a:cubicBezTo>
                    <a:cubicBezTo>
                      <a:pt x="985" y="1105"/>
                      <a:pt x="985" y="1105"/>
                      <a:pt x="985" y="1105"/>
                    </a:cubicBezTo>
                    <a:cubicBezTo>
                      <a:pt x="1050" y="1105"/>
                      <a:pt x="1103" y="1052"/>
                      <a:pt x="1103" y="987"/>
                    </a:cubicBezTo>
                    <a:cubicBezTo>
                      <a:pt x="1103" y="971"/>
                      <a:pt x="1100" y="957"/>
                      <a:pt x="1095" y="943"/>
                    </a:cubicBezTo>
                    <a:cubicBezTo>
                      <a:pt x="1145" y="930"/>
                      <a:pt x="1182" y="884"/>
                      <a:pt x="1182" y="829"/>
                    </a:cubicBezTo>
                    <a:cubicBezTo>
                      <a:pt x="1182" y="799"/>
                      <a:pt x="1170" y="771"/>
                      <a:pt x="1151" y="751"/>
                    </a:cubicBezTo>
                    <a:cubicBezTo>
                      <a:pt x="1170" y="730"/>
                      <a:pt x="1182" y="702"/>
                      <a:pt x="1182" y="672"/>
                    </a:cubicBezTo>
                    <a:cubicBezTo>
                      <a:pt x="1182" y="642"/>
                      <a:pt x="1170" y="614"/>
                      <a:pt x="1151" y="593"/>
                    </a:cubicBezTo>
                    <a:close/>
                    <a:moveTo>
                      <a:pt x="315" y="987"/>
                    </a:moveTo>
                    <a:cubicBezTo>
                      <a:pt x="315" y="1008"/>
                      <a:pt x="298" y="1026"/>
                      <a:pt x="276" y="1026"/>
                    </a:cubicBezTo>
                    <a:cubicBezTo>
                      <a:pt x="79" y="1026"/>
                      <a:pt x="79" y="1026"/>
                      <a:pt x="79" y="1026"/>
                    </a:cubicBezTo>
                    <a:cubicBezTo>
                      <a:pt x="79" y="396"/>
                      <a:pt x="79" y="396"/>
                      <a:pt x="79" y="396"/>
                    </a:cubicBezTo>
                    <a:cubicBezTo>
                      <a:pt x="276" y="396"/>
                      <a:pt x="276" y="396"/>
                      <a:pt x="276" y="396"/>
                    </a:cubicBezTo>
                    <a:cubicBezTo>
                      <a:pt x="298" y="396"/>
                      <a:pt x="315" y="414"/>
                      <a:pt x="315" y="436"/>
                    </a:cubicBezTo>
                    <a:lnTo>
                      <a:pt x="315" y="987"/>
                    </a:lnTo>
                    <a:close/>
                    <a:moveTo>
                      <a:pt x="985" y="632"/>
                    </a:moveTo>
                    <a:cubicBezTo>
                      <a:pt x="1063" y="632"/>
                      <a:pt x="1063" y="632"/>
                      <a:pt x="1063" y="632"/>
                    </a:cubicBezTo>
                    <a:cubicBezTo>
                      <a:pt x="1085" y="632"/>
                      <a:pt x="1103" y="650"/>
                      <a:pt x="1103" y="672"/>
                    </a:cubicBezTo>
                    <a:cubicBezTo>
                      <a:pt x="1103" y="694"/>
                      <a:pt x="1085" y="711"/>
                      <a:pt x="1063" y="711"/>
                    </a:cubicBezTo>
                    <a:cubicBezTo>
                      <a:pt x="985" y="711"/>
                      <a:pt x="985" y="711"/>
                      <a:pt x="985" y="711"/>
                    </a:cubicBezTo>
                    <a:cubicBezTo>
                      <a:pt x="963" y="711"/>
                      <a:pt x="945" y="729"/>
                      <a:pt x="945" y="751"/>
                    </a:cubicBezTo>
                    <a:cubicBezTo>
                      <a:pt x="945" y="772"/>
                      <a:pt x="963" y="790"/>
                      <a:pt x="985" y="790"/>
                    </a:cubicBezTo>
                    <a:cubicBezTo>
                      <a:pt x="1063" y="790"/>
                      <a:pt x="1063" y="790"/>
                      <a:pt x="1063" y="790"/>
                    </a:cubicBezTo>
                    <a:cubicBezTo>
                      <a:pt x="1085" y="790"/>
                      <a:pt x="1103" y="808"/>
                      <a:pt x="1103" y="829"/>
                    </a:cubicBezTo>
                    <a:cubicBezTo>
                      <a:pt x="1103" y="851"/>
                      <a:pt x="1085" y="869"/>
                      <a:pt x="1063" y="869"/>
                    </a:cubicBezTo>
                    <a:cubicBezTo>
                      <a:pt x="985" y="869"/>
                      <a:pt x="985" y="869"/>
                      <a:pt x="985" y="869"/>
                    </a:cubicBezTo>
                    <a:cubicBezTo>
                      <a:pt x="963" y="869"/>
                      <a:pt x="945" y="886"/>
                      <a:pt x="945" y="908"/>
                    </a:cubicBezTo>
                    <a:cubicBezTo>
                      <a:pt x="945" y="930"/>
                      <a:pt x="963" y="947"/>
                      <a:pt x="985" y="947"/>
                    </a:cubicBezTo>
                    <a:cubicBezTo>
                      <a:pt x="1006" y="947"/>
                      <a:pt x="1024" y="965"/>
                      <a:pt x="1024" y="987"/>
                    </a:cubicBezTo>
                    <a:cubicBezTo>
                      <a:pt x="1024" y="1008"/>
                      <a:pt x="1006" y="1026"/>
                      <a:pt x="985" y="1026"/>
                    </a:cubicBezTo>
                    <a:cubicBezTo>
                      <a:pt x="655" y="1026"/>
                      <a:pt x="655" y="1026"/>
                      <a:pt x="655" y="1026"/>
                    </a:cubicBezTo>
                    <a:cubicBezTo>
                      <a:pt x="617" y="1026"/>
                      <a:pt x="579" y="1020"/>
                      <a:pt x="543" y="1008"/>
                    </a:cubicBezTo>
                    <a:cubicBezTo>
                      <a:pt x="394" y="958"/>
                      <a:pt x="394" y="958"/>
                      <a:pt x="394" y="958"/>
                    </a:cubicBezTo>
                    <a:cubicBezTo>
                      <a:pt x="394" y="471"/>
                      <a:pt x="394" y="471"/>
                      <a:pt x="394" y="471"/>
                    </a:cubicBezTo>
                    <a:cubicBezTo>
                      <a:pt x="456" y="460"/>
                      <a:pt x="516" y="420"/>
                      <a:pt x="571" y="356"/>
                    </a:cubicBezTo>
                    <a:cubicBezTo>
                      <a:pt x="624" y="294"/>
                      <a:pt x="667" y="211"/>
                      <a:pt x="686" y="135"/>
                    </a:cubicBezTo>
                    <a:cubicBezTo>
                      <a:pt x="700" y="79"/>
                      <a:pt x="700" y="79"/>
                      <a:pt x="700" y="79"/>
                    </a:cubicBezTo>
                    <a:cubicBezTo>
                      <a:pt x="709" y="79"/>
                      <a:pt x="709" y="79"/>
                      <a:pt x="709" y="79"/>
                    </a:cubicBezTo>
                    <a:cubicBezTo>
                      <a:pt x="753" y="79"/>
                      <a:pt x="788" y="114"/>
                      <a:pt x="788" y="157"/>
                    </a:cubicBezTo>
                    <a:cubicBezTo>
                      <a:pt x="788" y="197"/>
                      <a:pt x="788" y="197"/>
                      <a:pt x="788" y="197"/>
                    </a:cubicBezTo>
                    <a:cubicBezTo>
                      <a:pt x="788" y="250"/>
                      <a:pt x="771" y="351"/>
                      <a:pt x="750" y="396"/>
                    </a:cubicBezTo>
                    <a:cubicBezTo>
                      <a:pt x="670" y="396"/>
                      <a:pt x="670" y="396"/>
                      <a:pt x="670" y="396"/>
                    </a:cubicBezTo>
                    <a:cubicBezTo>
                      <a:pt x="648" y="396"/>
                      <a:pt x="630" y="414"/>
                      <a:pt x="630" y="436"/>
                    </a:cubicBezTo>
                    <a:cubicBezTo>
                      <a:pt x="630" y="457"/>
                      <a:pt x="648" y="475"/>
                      <a:pt x="670" y="475"/>
                    </a:cubicBezTo>
                    <a:cubicBezTo>
                      <a:pt x="1063" y="475"/>
                      <a:pt x="1063" y="475"/>
                      <a:pt x="1063" y="475"/>
                    </a:cubicBezTo>
                    <a:cubicBezTo>
                      <a:pt x="1085" y="475"/>
                      <a:pt x="1103" y="493"/>
                      <a:pt x="1103" y="514"/>
                    </a:cubicBezTo>
                    <a:cubicBezTo>
                      <a:pt x="1103" y="536"/>
                      <a:pt x="1085" y="554"/>
                      <a:pt x="1063" y="554"/>
                    </a:cubicBezTo>
                    <a:cubicBezTo>
                      <a:pt x="985" y="554"/>
                      <a:pt x="985" y="554"/>
                      <a:pt x="985" y="554"/>
                    </a:cubicBezTo>
                    <a:cubicBezTo>
                      <a:pt x="963" y="554"/>
                      <a:pt x="945" y="571"/>
                      <a:pt x="945" y="593"/>
                    </a:cubicBezTo>
                    <a:cubicBezTo>
                      <a:pt x="945" y="615"/>
                      <a:pt x="963" y="632"/>
                      <a:pt x="985" y="6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6" name="Oval 15">
                <a:extLst>
                  <a:ext uri="{FF2B5EF4-FFF2-40B4-BE49-F238E27FC236}">
                    <a16:creationId xmlns:a16="http://schemas.microsoft.com/office/drawing/2014/main" id="{CBB5AE40-647F-C6FC-E2C0-4AC5FD9D1334}"/>
                  </a:ext>
                </a:extLst>
              </p:cNvPr>
              <p:cNvSpPr>
                <a:spLocks noChangeArrowheads="1"/>
              </p:cNvSpPr>
              <p:nvPr/>
            </p:nvSpPr>
            <p:spPr bwMode="auto">
              <a:xfrm>
                <a:off x="-912813" y="3209925"/>
                <a:ext cx="58738"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7" name="Freeform 16">
                <a:extLst>
                  <a:ext uri="{FF2B5EF4-FFF2-40B4-BE49-F238E27FC236}">
                    <a16:creationId xmlns:a16="http://schemas.microsoft.com/office/drawing/2014/main" id="{58FD5EF1-13DF-94F3-C7D8-62977E5D7532}"/>
                  </a:ext>
                </a:extLst>
              </p:cNvPr>
              <p:cNvSpPr>
                <a:spLocks/>
              </p:cNvSpPr>
              <p:nvPr/>
            </p:nvSpPr>
            <p:spPr bwMode="auto">
              <a:xfrm>
                <a:off x="-504826" y="2389188"/>
                <a:ext cx="58738" cy="117475"/>
              </a:xfrm>
              <a:custGeom>
                <a:avLst/>
                <a:gdLst>
                  <a:gd name="T0" fmla="*/ 39 w 79"/>
                  <a:gd name="T1" fmla="*/ 0 h 160"/>
                  <a:gd name="T2" fmla="*/ 0 w 79"/>
                  <a:gd name="T3" fmla="*/ 39 h 160"/>
                  <a:gd name="T4" fmla="*/ 0 w 79"/>
                  <a:gd name="T5" fmla="*/ 121 h 160"/>
                  <a:gd name="T6" fmla="*/ 39 w 79"/>
                  <a:gd name="T7" fmla="*/ 160 h 160"/>
                  <a:gd name="T8" fmla="*/ 79 w 79"/>
                  <a:gd name="T9" fmla="*/ 121 h 160"/>
                  <a:gd name="T10" fmla="*/ 79 w 79"/>
                  <a:gd name="T11" fmla="*/ 39 h 160"/>
                  <a:gd name="T12" fmla="*/ 39 w 7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79" h="160">
                    <a:moveTo>
                      <a:pt x="39" y="0"/>
                    </a:moveTo>
                    <a:cubicBezTo>
                      <a:pt x="18" y="0"/>
                      <a:pt x="0" y="18"/>
                      <a:pt x="0" y="39"/>
                    </a:cubicBezTo>
                    <a:cubicBezTo>
                      <a:pt x="0" y="121"/>
                      <a:pt x="0" y="121"/>
                      <a:pt x="0" y="121"/>
                    </a:cubicBezTo>
                    <a:cubicBezTo>
                      <a:pt x="0" y="143"/>
                      <a:pt x="18" y="160"/>
                      <a:pt x="39" y="160"/>
                    </a:cubicBezTo>
                    <a:cubicBezTo>
                      <a:pt x="61" y="160"/>
                      <a:pt x="79" y="143"/>
                      <a:pt x="79" y="121"/>
                    </a:cubicBezTo>
                    <a:cubicBezTo>
                      <a:pt x="79" y="39"/>
                      <a:pt x="79" y="39"/>
                      <a:pt x="79" y="39"/>
                    </a:cubicBezTo>
                    <a:cubicBezTo>
                      <a:pt x="79" y="18"/>
                      <a:pt x="61" y="0"/>
                      <a:pt x="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8" name="Freeform 17">
                <a:extLst>
                  <a:ext uri="{FF2B5EF4-FFF2-40B4-BE49-F238E27FC236}">
                    <a16:creationId xmlns:a16="http://schemas.microsoft.com/office/drawing/2014/main" id="{89BB6293-ACFA-819E-BF17-D600D9B16216}"/>
                  </a:ext>
                </a:extLst>
              </p:cNvPr>
              <p:cNvSpPr>
                <a:spLocks/>
              </p:cNvSpPr>
              <p:nvPr/>
            </p:nvSpPr>
            <p:spPr bwMode="auto">
              <a:xfrm>
                <a:off x="-692151" y="2465388"/>
                <a:ext cx="104775" cy="104775"/>
              </a:xfrm>
              <a:custGeom>
                <a:avLst/>
                <a:gdLst>
                  <a:gd name="T0" fmla="*/ 126 w 142"/>
                  <a:gd name="T1" fmla="*/ 71 h 142"/>
                  <a:gd name="T2" fmla="*/ 71 w 142"/>
                  <a:gd name="T3" fmla="*/ 15 h 142"/>
                  <a:gd name="T4" fmla="*/ 15 w 142"/>
                  <a:gd name="T5" fmla="*/ 15 h 142"/>
                  <a:gd name="T6" fmla="*/ 15 w 142"/>
                  <a:gd name="T7" fmla="*/ 71 h 142"/>
                  <a:gd name="T8" fmla="*/ 71 w 142"/>
                  <a:gd name="T9" fmla="*/ 126 h 142"/>
                  <a:gd name="T10" fmla="*/ 126 w 142"/>
                  <a:gd name="T11" fmla="*/ 126 h 142"/>
                  <a:gd name="T12" fmla="*/ 126 w 142"/>
                  <a:gd name="T13" fmla="*/ 71 h 142"/>
                </a:gdLst>
                <a:ahLst/>
                <a:cxnLst>
                  <a:cxn ang="0">
                    <a:pos x="T0" y="T1"/>
                  </a:cxn>
                  <a:cxn ang="0">
                    <a:pos x="T2" y="T3"/>
                  </a:cxn>
                  <a:cxn ang="0">
                    <a:pos x="T4" y="T5"/>
                  </a:cxn>
                  <a:cxn ang="0">
                    <a:pos x="T6" y="T7"/>
                  </a:cxn>
                  <a:cxn ang="0">
                    <a:pos x="T8" y="T9"/>
                  </a:cxn>
                  <a:cxn ang="0">
                    <a:pos x="T10" y="T11"/>
                  </a:cxn>
                  <a:cxn ang="0">
                    <a:pos x="T12" y="T13"/>
                  </a:cxn>
                </a:cxnLst>
                <a:rect l="0" t="0" r="r" b="b"/>
                <a:pathLst>
                  <a:path w="142" h="142">
                    <a:moveTo>
                      <a:pt x="126" y="71"/>
                    </a:moveTo>
                    <a:cubicBezTo>
                      <a:pt x="71" y="15"/>
                      <a:pt x="71" y="15"/>
                      <a:pt x="71" y="15"/>
                    </a:cubicBezTo>
                    <a:cubicBezTo>
                      <a:pt x="55" y="0"/>
                      <a:pt x="30" y="0"/>
                      <a:pt x="15" y="15"/>
                    </a:cubicBezTo>
                    <a:cubicBezTo>
                      <a:pt x="0" y="30"/>
                      <a:pt x="0" y="55"/>
                      <a:pt x="15" y="71"/>
                    </a:cubicBezTo>
                    <a:cubicBezTo>
                      <a:pt x="71" y="126"/>
                      <a:pt x="71" y="126"/>
                      <a:pt x="71" y="126"/>
                    </a:cubicBezTo>
                    <a:cubicBezTo>
                      <a:pt x="86" y="142"/>
                      <a:pt x="111" y="142"/>
                      <a:pt x="126" y="126"/>
                    </a:cubicBezTo>
                    <a:cubicBezTo>
                      <a:pt x="142" y="111"/>
                      <a:pt x="142" y="86"/>
                      <a:pt x="12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9" name="Freeform 18">
                <a:extLst>
                  <a:ext uri="{FF2B5EF4-FFF2-40B4-BE49-F238E27FC236}">
                    <a16:creationId xmlns:a16="http://schemas.microsoft.com/office/drawing/2014/main" id="{D95EE411-086E-8BA3-C2A2-38D4F86B91C7}"/>
                  </a:ext>
                </a:extLst>
              </p:cNvPr>
              <p:cNvSpPr>
                <a:spLocks/>
              </p:cNvSpPr>
              <p:nvPr/>
            </p:nvSpPr>
            <p:spPr bwMode="auto">
              <a:xfrm>
                <a:off x="-363538" y="2465388"/>
                <a:ext cx="106363" cy="104775"/>
              </a:xfrm>
              <a:custGeom>
                <a:avLst/>
                <a:gdLst>
                  <a:gd name="T0" fmla="*/ 127 w 142"/>
                  <a:gd name="T1" fmla="*/ 15 h 142"/>
                  <a:gd name="T2" fmla="*/ 71 w 142"/>
                  <a:gd name="T3" fmla="*/ 15 h 142"/>
                  <a:gd name="T4" fmla="*/ 16 w 142"/>
                  <a:gd name="T5" fmla="*/ 71 h 142"/>
                  <a:gd name="T6" fmla="*/ 16 w 142"/>
                  <a:gd name="T7" fmla="*/ 126 h 142"/>
                  <a:gd name="T8" fmla="*/ 71 w 142"/>
                  <a:gd name="T9" fmla="*/ 126 h 142"/>
                  <a:gd name="T10" fmla="*/ 127 w 142"/>
                  <a:gd name="T11" fmla="*/ 71 h 142"/>
                  <a:gd name="T12" fmla="*/ 127 w 142"/>
                  <a:gd name="T13" fmla="*/ 15 h 142"/>
                </a:gdLst>
                <a:ahLst/>
                <a:cxnLst>
                  <a:cxn ang="0">
                    <a:pos x="T0" y="T1"/>
                  </a:cxn>
                  <a:cxn ang="0">
                    <a:pos x="T2" y="T3"/>
                  </a:cxn>
                  <a:cxn ang="0">
                    <a:pos x="T4" y="T5"/>
                  </a:cxn>
                  <a:cxn ang="0">
                    <a:pos x="T6" y="T7"/>
                  </a:cxn>
                  <a:cxn ang="0">
                    <a:pos x="T8" y="T9"/>
                  </a:cxn>
                  <a:cxn ang="0">
                    <a:pos x="T10" y="T11"/>
                  </a:cxn>
                  <a:cxn ang="0">
                    <a:pos x="T12" y="T13"/>
                  </a:cxn>
                </a:cxnLst>
                <a:rect l="0" t="0" r="r" b="b"/>
                <a:pathLst>
                  <a:path w="142" h="142">
                    <a:moveTo>
                      <a:pt x="127" y="15"/>
                    </a:moveTo>
                    <a:cubicBezTo>
                      <a:pt x="111" y="0"/>
                      <a:pt x="87" y="0"/>
                      <a:pt x="71" y="15"/>
                    </a:cubicBezTo>
                    <a:cubicBezTo>
                      <a:pt x="16" y="71"/>
                      <a:pt x="16" y="71"/>
                      <a:pt x="16" y="71"/>
                    </a:cubicBezTo>
                    <a:cubicBezTo>
                      <a:pt x="0" y="86"/>
                      <a:pt x="0" y="111"/>
                      <a:pt x="16" y="126"/>
                    </a:cubicBezTo>
                    <a:cubicBezTo>
                      <a:pt x="31" y="142"/>
                      <a:pt x="56" y="142"/>
                      <a:pt x="71" y="126"/>
                    </a:cubicBezTo>
                    <a:cubicBezTo>
                      <a:pt x="127" y="71"/>
                      <a:pt x="127" y="71"/>
                      <a:pt x="127" y="71"/>
                    </a:cubicBezTo>
                    <a:cubicBezTo>
                      <a:pt x="142" y="55"/>
                      <a:pt x="142" y="30"/>
                      <a:pt x="12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140" name="Group 139">
            <a:extLst>
              <a:ext uri="{FF2B5EF4-FFF2-40B4-BE49-F238E27FC236}">
                <a16:creationId xmlns:a16="http://schemas.microsoft.com/office/drawing/2014/main" id="{3ECB1764-59FB-F2F2-8B69-6A910746B513}"/>
              </a:ext>
            </a:extLst>
          </p:cNvPr>
          <p:cNvGrpSpPr/>
          <p:nvPr/>
        </p:nvGrpSpPr>
        <p:grpSpPr>
          <a:xfrm>
            <a:off x="10223945" y="2188460"/>
            <a:ext cx="573069" cy="593227"/>
            <a:chOff x="7759701" y="1939607"/>
            <a:chExt cx="2765425" cy="2716531"/>
          </a:xfrm>
          <a:solidFill>
            <a:schemeClr val="bg1"/>
          </a:solidFill>
        </p:grpSpPr>
        <p:sp>
          <p:nvSpPr>
            <p:cNvPr id="141" name="Freeform 5">
              <a:extLst>
                <a:ext uri="{FF2B5EF4-FFF2-40B4-BE49-F238E27FC236}">
                  <a16:creationId xmlns:a16="http://schemas.microsoft.com/office/drawing/2014/main" id="{B9D3B2DE-A1B2-5AC1-E04B-2F417C05C265}"/>
                </a:ext>
              </a:extLst>
            </p:cNvPr>
            <p:cNvSpPr>
              <a:spLocks/>
            </p:cNvSpPr>
            <p:nvPr/>
          </p:nvSpPr>
          <p:spPr bwMode="auto">
            <a:xfrm>
              <a:off x="8398321" y="1939607"/>
              <a:ext cx="1552575" cy="452438"/>
            </a:xfrm>
            <a:custGeom>
              <a:avLst/>
              <a:gdLst>
                <a:gd name="T0" fmla="*/ 0 w 1246"/>
                <a:gd name="T1" fmla="*/ 103 h 363"/>
                <a:gd name="T2" fmla="*/ 0 w 1246"/>
                <a:gd name="T3" fmla="*/ 363 h 363"/>
                <a:gd name="T4" fmla="*/ 52 w 1246"/>
                <a:gd name="T5" fmla="*/ 363 h 363"/>
                <a:gd name="T6" fmla="*/ 52 w 1246"/>
                <a:gd name="T7" fmla="*/ 103 h 363"/>
                <a:gd name="T8" fmla="*/ 104 w 1246"/>
                <a:gd name="T9" fmla="*/ 52 h 363"/>
                <a:gd name="T10" fmla="*/ 1142 w 1246"/>
                <a:gd name="T11" fmla="*/ 52 h 363"/>
                <a:gd name="T12" fmla="*/ 1194 w 1246"/>
                <a:gd name="T13" fmla="*/ 103 h 363"/>
                <a:gd name="T14" fmla="*/ 1246 w 1246"/>
                <a:gd name="T15" fmla="*/ 103 h 363"/>
                <a:gd name="T16" fmla="*/ 1142 w 1246"/>
                <a:gd name="T17" fmla="*/ 0 h 363"/>
                <a:gd name="T18" fmla="*/ 104 w 1246"/>
                <a:gd name="T19" fmla="*/ 0 h 363"/>
                <a:gd name="T20" fmla="*/ 0 w 1246"/>
                <a:gd name="T21" fmla="*/ 10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6" h="363">
                  <a:moveTo>
                    <a:pt x="0" y="103"/>
                  </a:moveTo>
                  <a:cubicBezTo>
                    <a:pt x="0" y="363"/>
                    <a:pt x="0" y="363"/>
                    <a:pt x="0" y="363"/>
                  </a:cubicBezTo>
                  <a:cubicBezTo>
                    <a:pt x="52" y="363"/>
                    <a:pt x="52" y="363"/>
                    <a:pt x="52" y="363"/>
                  </a:cubicBezTo>
                  <a:cubicBezTo>
                    <a:pt x="52" y="103"/>
                    <a:pt x="52" y="103"/>
                    <a:pt x="52" y="103"/>
                  </a:cubicBezTo>
                  <a:cubicBezTo>
                    <a:pt x="52" y="75"/>
                    <a:pt x="75" y="52"/>
                    <a:pt x="104" y="52"/>
                  </a:cubicBezTo>
                  <a:cubicBezTo>
                    <a:pt x="1142" y="52"/>
                    <a:pt x="1142" y="52"/>
                    <a:pt x="1142" y="52"/>
                  </a:cubicBezTo>
                  <a:cubicBezTo>
                    <a:pt x="1171" y="52"/>
                    <a:pt x="1194" y="75"/>
                    <a:pt x="1194" y="103"/>
                  </a:cubicBezTo>
                  <a:cubicBezTo>
                    <a:pt x="1246" y="103"/>
                    <a:pt x="1246" y="103"/>
                    <a:pt x="1246" y="103"/>
                  </a:cubicBezTo>
                  <a:cubicBezTo>
                    <a:pt x="1246" y="46"/>
                    <a:pt x="1200" y="0"/>
                    <a:pt x="1142" y="0"/>
                  </a:cubicBezTo>
                  <a:cubicBezTo>
                    <a:pt x="104" y="0"/>
                    <a:pt x="104" y="0"/>
                    <a:pt x="104" y="0"/>
                  </a:cubicBezTo>
                  <a:cubicBezTo>
                    <a:pt x="46" y="0"/>
                    <a:pt x="0" y="46"/>
                    <a:pt x="0"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2" name="Freeform 6">
              <a:extLst>
                <a:ext uri="{FF2B5EF4-FFF2-40B4-BE49-F238E27FC236}">
                  <a16:creationId xmlns:a16="http://schemas.microsoft.com/office/drawing/2014/main" id="{8928D286-880F-4D89-4A56-BDEF7C77E718}"/>
                </a:ext>
              </a:extLst>
            </p:cNvPr>
            <p:cNvSpPr>
              <a:spLocks noEditPoints="1"/>
            </p:cNvSpPr>
            <p:nvPr/>
          </p:nvSpPr>
          <p:spPr bwMode="auto">
            <a:xfrm>
              <a:off x="8204646" y="2457133"/>
              <a:ext cx="711200" cy="452438"/>
            </a:xfrm>
            <a:custGeom>
              <a:avLst/>
              <a:gdLst>
                <a:gd name="T0" fmla="*/ 26 w 571"/>
                <a:gd name="T1" fmla="*/ 364 h 364"/>
                <a:gd name="T2" fmla="*/ 545 w 571"/>
                <a:gd name="T3" fmla="*/ 364 h 364"/>
                <a:gd name="T4" fmla="*/ 571 w 571"/>
                <a:gd name="T5" fmla="*/ 338 h 364"/>
                <a:gd name="T6" fmla="*/ 571 w 571"/>
                <a:gd name="T7" fmla="*/ 26 h 364"/>
                <a:gd name="T8" fmla="*/ 545 w 571"/>
                <a:gd name="T9" fmla="*/ 0 h 364"/>
                <a:gd name="T10" fmla="*/ 26 w 571"/>
                <a:gd name="T11" fmla="*/ 0 h 364"/>
                <a:gd name="T12" fmla="*/ 0 w 571"/>
                <a:gd name="T13" fmla="*/ 26 h 364"/>
                <a:gd name="T14" fmla="*/ 0 w 571"/>
                <a:gd name="T15" fmla="*/ 338 h 364"/>
                <a:gd name="T16" fmla="*/ 26 w 571"/>
                <a:gd name="T17" fmla="*/ 364 h 364"/>
                <a:gd name="T18" fmla="*/ 52 w 571"/>
                <a:gd name="T19" fmla="*/ 52 h 364"/>
                <a:gd name="T20" fmla="*/ 519 w 571"/>
                <a:gd name="T21" fmla="*/ 52 h 364"/>
                <a:gd name="T22" fmla="*/ 519 w 571"/>
                <a:gd name="T23" fmla="*/ 312 h 364"/>
                <a:gd name="T24" fmla="*/ 52 w 571"/>
                <a:gd name="T25" fmla="*/ 312 h 364"/>
                <a:gd name="T26" fmla="*/ 52 w 571"/>
                <a:gd name="T27" fmla="*/ 52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 h="364">
                  <a:moveTo>
                    <a:pt x="26" y="364"/>
                  </a:moveTo>
                  <a:cubicBezTo>
                    <a:pt x="545" y="364"/>
                    <a:pt x="545" y="364"/>
                    <a:pt x="545" y="364"/>
                  </a:cubicBezTo>
                  <a:cubicBezTo>
                    <a:pt x="560" y="364"/>
                    <a:pt x="571" y="352"/>
                    <a:pt x="571" y="338"/>
                  </a:cubicBezTo>
                  <a:cubicBezTo>
                    <a:pt x="571" y="26"/>
                    <a:pt x="571" y="26"/>
                    <a:pt x="571" y="26"/>
                  </a:cubicBezTo>
                  <a:cubicBezTo>
                    <a:pt x="571" y="12"/>
                    <a:pt x="560" y="0"/>
                    <a:pt x="545" y="0"/>
                  </a:cubicBezTo>
                  <a:cubicBezTo>
                    <a:pt x="26" y="0"/>
                    <a:pt x="26" y="0"/>
                    <a:pt x="26" y="0"/>
                  </a:cubicBezTo>
                  <a:cubicBezTo>
                    <a:pt x="12" y="0"/>
                    <a:pt x="0" y="12"/>
                    <a:pt x="0" y="26"/>
                  </a:cubicBezTo>
                  <a:cubicBezTo>
                    <a:pt x="0" y="338"/>
                    <a:pt x="0" y="338"/>
                    <a:pt x="0" y="338"/>
                  </a:cubicBezTo>
                  <a:cubicBezTo>
                    <a:pt x="0" y="352"/>
                    <a:pt x="12" y="364"/>
                    <a:pt x="26" y="364"/>
                  </a:cubicBezTo>
                  <a:close/>
                  <a:moveTo>
                    <a:pt x="52" y="52"/>
                  </a:moveTo>
                  <a:cubicBezTo>
                    <a:pt x="519" y="52"/>
                    <a:pt x="519" y="52"/>
                    <a:pt x="519" y="52"/>
                  </a:cubicBezTo>
                  <a:cubicBezTo>
                    <a:pt x="519" y="312"/>
                    <a:pt x="519" y="312"/>
                    <a:pt x="519" y="312"/>
                  </a:cubicBezTo>
                  <a:cubicBezTo>
                    <a:pt x="52" y="312"/>
                    <a:pt x="52" y="312"/>
                    <a:pt x="52" y="312"/>
                  </a:cubicBez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3" name="Freeform 7">
              <a:extLst>
                <a:ext uri="{FF2B5EF4-FFF2-40B4-BE49-F238E27FC236}">
                  <a16:creationId xmlns:a16="http://schemas.microsoft.com/office/drawing/2014/main" id="{7FA1C110-9BA7-8F68-8C89-2A6A554D75E4}"/>
                </a:ext>
              </a:extLst>
            </p:cNvPr>
            <p:cNvSpPr>
              <a:spLocks/>
            </p:cNvSpPr>
            <p:nvPr/>
          </p:nvSpPr>
          <p:spPr bwMode="auto">
            <a:xfrm>
              <a:off x="8330058" y="2596833"/>
              <a:ext cx="123825" cy="174625"/>
            </a:xfrm>
            <a:custGeom>
              <a:avLst/>
              <a:gdLst>
                <a:gd name="T0" fmla="*/ 62 w 99"/>
                <a:gd name="T1" fmla="*/ 0 h 140"/>
                <a:gd name="T2" fmla="*/ 10 w 99"/>
                <a:gd name="T3" fmla="*/ 52 h 140"/>
                <a:gd name="T4" fmla="*/ 10 w 99"/>
                <a:gd name="T5" fmla="*/ 88 h 140"/>
                <a:gd name="T6" fmla="*/ 62 w 99"/>
                <a:gd name="T7" fmla="*/ 140 h 140"/>
                <a:gd name="T8" fmla="*/ 99 w 99"/>
                <a:gd name="T9" fmla="*/ 103 h 140"/>
                <a:gd name="T10" fmla="*/ 66 w 99"/>
                <a:gd name="T11" fmla="*/ 70 h 140"/>
                <a:gd name="T12" fmla="*/ 99 w 99"/>
                <a:gd name="T13" fmla="*/ 36 h 140"/>
                <a:gd name="T14" fmla="*/ 62 w 99"/>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40">
                  <a:moveTo>
                    <a:pt x="62" y="0"/>
                  </a:moveTo>
                  <a:cubicBezTo>
                    <a:pt x="10" y="52"/>
                    <a:pt x="10" y="52"/>
                    <a:pt x="10" y="52"/>
                  </a:cubicBezTo>
                  <a:cubicBezTo>
                    <a:pt x="0" y="62"/>
                    <a:pt x="0" y="78"/>
                    <a:pt x="10" y="88"/>
                  </a:cubicBezTo>
                  <a:cubicBezTo>
                    <a:pt x="62" y="140"/>
                    <a:pt x="62" y="140"/>
                    <a:pt x="62" y="140"/>
                  </a:cubicBezTo>
                  <a:cubicBezTo>
                    <a:pt x="99" y="103"/>
                    <a:pt x="99" y="103"/>
                    <a:pt x="99" y="103"/>
                  </a:cubicBezTo>
                  <a:cubicBezTo>
                    <a:pt x="66" y="70"/>
                    <a:pt x="66" y="70"/>
                    <a:pt x="66" y="70"/>
                  </a:cubicBezTo>
                  <a:cubicBezTo>
                    <a:pt x="99" y="36"/>
                    <a:pt x="99" y="36"/>
                    <a:pt x="99" y="36"/>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4" name="Freeform 8">
              <a:extLst>
                <a:ext uri="{FF2B5EF4-FFF2-40B4-BE49-F238E27FC236}">
                  <a16:creationId xmlns:a16="http://schemas.microsoft.com/office/drawing/2014/main" id="{80C2C519-5590-6F5E-71C5-8928C8A97DCA}"/>
                </a:ext>
              </a:extLst>
            </p:cNvPr>
            <p:cNvSpPr>
              <a:spLocks/>
            </p:cNvSpPr>
            <p:nvPr/>
          </p:nvSpPr>
          <p:spPr bwMode="auto">
            <a:xfrm>
              <a:off x="8666608" y="2596833"/>
              <a:ext cx="123825" cy="174625"/>
            </a:xfrm>
            <a:custGeom>
              <a:avLst/>
              <a:gdLst>
                <a:gd name="T0" fmla="*/ 37 w 99"/>
                <a:gd name="T1" fmla="*/ 0 h 140"/>
                <a:gd name="T2" fmla="*/ 0 w 99"/>
                <a:gd name="T3" fmla="*/ 36 h 140"/>
                <a:gd name="T4" fmla="*/ 34 w 99"/>
                <a:gd name="T5" fmla="*/ 70 h 140"/>
                <a:gd name="T6" fmla="*/ 0 w 99"/>
                <a:gd name="T7" fmla="*/ 103 h 140"/>
                <a:gd name="T8" fmla="*/ 37 w 99"/>
                <a:gd name="T9" fmla="*/ 140 h 140"/>
                <a:gd name="T10" fmla="*/ 89 w 99"/>
                <a:gd name="T11" fmla="*/ 88 h 140"/>
                <a:gd name="T12" fmla="*/ 89 w 99"/>
                <a:gd name="T13" fmla="*/ 52 h 140"/>
                <a:gd name="T14" fmla="*/ 37 w 99"/>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40">
                  <a:moveTo>
                    <a:pt x="37" y="0"/>
                  </a:moveTo>
                  <a:cubicBezTo>
                    <a:pt x="0" y="36"/>
                    <a:pt x="0" y="36"/>
                    <a:pt x="0" y="36"/>
                  </a:cubicBezTo>
                  <a:cubicBezTo>
                    <a:pt x="34" y="70"/>
                    <a:pt x="34" y="70"/>
                    <a:pt x="34" y="70"/>
                  </a:cubicBezTo>
                  <a:cubicBezTo>
                    <a:pt x="0" y="103"/>
                    <a:pt x="0" y="103"/>
                    <a:pt x="0" y="103"/>
                  </a:cubicBezTo>
                  <a:cubicBezTo>
                    <a:pt x="37" y="140"/>
                    <a:pt x="37" y="140"/>
                    <a:pt x="37" y="140"/>
                  </a:cubicBezTo>
                  <a:cubicBezTo>
                    <a:pt x="89" y="88"/>
                    <a:pt x="89" y="88"/>
                    <a:pt x="89" y="88"/>
                  </a:cubicBezTo>
                  <a:cubicBezTo>
                    <a:pt x="99" y="78"/>
                    <a:pt x="99" y="62"/>
                    <a:pt x="89" y="52"/>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5" name="Freeform 9">
              <a:extLst>
                <a:ext uri="{FF2B5EF4-FFF2-40B4-BE49-F238E27FC236}">
                  <a16:creationId xmlns:a16="http://schemas.microsoft.com/office/drawing/2014/main" id="{78470332-074B-E74D-CB6B-AC6DEBF01FC5}"/>
                </a:ext>
              </a:extLst>
            </p:cNvPr>
            <p:cNvSpPr>
              <a:spLocks/>
            </p:cNvSpPr>
            <p:nvPr/>
          </p:nvSpPr>
          <p:spPr bwMode="auto">
            <a:xfrm>
              <a:off x="8496746" y="2576195"/>
              <a:ext cx="127000" cy="214313"/>
            </a:xfrm>
            <a:custGeom>
              <a:avLst/>
              <a:gdLst>
                <a:gd name="T0" fmla="*/ 0 w 80"/>
                <a:gd name="T1" fmla="*/ 123 h 135"/>
                <a:gd name="T2" fmla="*/ 41 w 80"/>
                <a:gd name="T3" fmla="*/ 0 h 135"/>
                <a:gd name="T4" fmla="*/ 80 w 80"/>
                <a:gd name="T5" fmla="*/ 13 h 135"/>
                <a:gd name="T6" fmla="*/ 39 w 80"/>
                <a:gd name="T7" fmla="*/ 135 h 135"/>
                <a:gd name="T8" fmla="*/ 0 w 80"/>
                <a:gd name="T9" fmla="*/ 123 h 135"/>
              </a:gdLst>
              <a:ahLst/>
              <a:cxnLst>
                <a:cxn ang="0">
                  <a:pos x="T0" y="T1"/>
                </a:cxn>
                <a:cxn ang="0">
                  <a:pos x="T2" y="T3"/>
                </a:cxn>
                <a:cxn ang="0">
                  <a:pos x="T4" y="T5"/>
                </a:cxn>
                <a:cxn ang="0">
                  <a:pos x="T6" y="T7"/>
                </a:cxn>
                <a:cxn ang="0">
                  <a:pos x="T8" y="T9"/>
                </a:cxn>
              </a:cxnLst>
              <a:rect l="0" t="0" r="r" b="b"/>
              <a:pathLst>
                <a:path w="80" h="135">
                  <a:moveTo>
                    <a:pt x="0" y="123"/>
                  </a:moveTo>
                  <a:lnTo>
                    <a:pt x="41" y="0"/>
                  </a:lnTo>
                  <a:lnTo>
                    <a:pt x="80" y="13"/>
                  </a:lnTo>
                  <a:lnTo>
                    <a:pt x="39" y="135"/>
                  </a:lnTo>
                  <a:lnTo>
                    <a:pt x="0"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6" name="Freeform 10">
              <a:extLst>
                <a:ext uri="{FF2B5EF4-FFF2-40B4-BE49-F238E27FC236}">
                  <a16:creationId xmlns:a16="http://schemas.microsoft.com/office/drawing/2014/main" id="{856F6174-D59C-A5D0-D752-EAF8BB1C5134}"/>
                </a:ext>
              </a:extLst>
            </p:cNvPr>
            <p:cNvSpPr>
              <a:spLocks noEditPoints="1"/>
            </p:cNvSpPr>
            <p:nvPr/>
          </p:nvSpPr>
          <p:spPr bwMode="auto">
            <a:xfrm>
              <a:off x="8980933" y="2133283"/>
              <a:ext cx="1165225" cy="712788"/>
            </a:xfrm>
            <a:custGeom>
              <a:avLst/>
              <a:gdLst>
                <a:gd name="T0" fmla="*/ 909 w 935"/>
                <a:gd name="T1" fmla="*/ 0 h 572"/>
                <a:gd name="T2" fmla="*/ 26 w 935"/>
                <a:gd name="T3" fmla="*/ 0 h 572"/>
                <a:gd name="T4" fmla="*/ 0 w 935"/>
                <a:gd name="T5" fmla="*/ 26 h 572"/>
                <a:gd name="T6" fmla="*/ 0 w 935"/>
                <a:gd name="T7" fmla="*/ 546 h 572"/>
                <a:gd name="T8" fmla="*/ 26 w 935"/>
                <a:gd name="T9" fmla="*/ 572 h 572"/>
                <a:gd name="T10" fmla="*/ 909 w 935"/>
                <a:gd name="T11" fmla="*/ 572 h 572"/>
                <a:gd name="T12" fmla="*/ 935 w 935"/>
                <a:gd name="T13" fmla="*/ 546 h 572"/>
                <a:gd name="T14" fmla="*/ 935 w 935"/>
                <a:gd name="T15" fmla="*/ 26 h 572"/>
                <a:gd name="T16" fmla="*/ 909 w 935"/>
                <a:gd name="T17" fmla="*/ 0 h 572"/>
                <a:gd name="T18" fmla="*/ 883 w 935"/>
                <a:gd name="T19" fmla="*/ 520 h 572"/>
                <a:gd name="T20" fmla="*/ 52 w 935"/>
                <a:gd name="T21" fmla="*/ 520 h 572"/>
                <a:gd name="T22" fmla="*/ 52 w 935"/>
                <a:gd name="T23" fmla="*/ 457 h 572"/>
                <a:gd name="T24" fmla="*/ 285 w 935"/>
                <a:gd name="T25" fmla="*/ 317 h 572"/>
                <a:gd name="T26" fmla="*/ 513 w 935"/>
                <a:gd name="T27" fmla="*/ 464 h 572"/>
                <a:gd name="T28" fmla="*/ 539 w 935"/>
                <a:gd name="T29" fmla="*/ 465 h 572"/>
                <a:gd name="T30" fmla="*/ 727 w 935"/>
                <a:gd name="T31" fmla="*/ 368 h 572"/>
                <a:gd name="T32" fmla="*/ 883 w 935"/>
                <a:gd name="T33" fmla="*/ 457 h 572"/>
                <a:gd name="T34" fmla="*/ 883 w 935"/>
                <a:gd name="T35" fmla="*/ 520 h 572"/>
                <a:gd name="T36" fmla="*/ 883 w 935"/>
                <a:gd name="T37" fmla="*/ 397 h 572"/>
                <a:gd name="T38" fmla="*/ 740 w 935"/>
                <a:gd name="T39" fmla="*/ 315 h 572"/>
                <a:gd name="T40" fmla="*/ 715 w 935"/>
                <a:gd name="T41" fmla="*/ 315 h 572"/>
                <a:gd name="T42" fmla="*/ 528 w 935"/>
                <a:gd name="T43" fmla="*/ 412 h 572"/>
                <a:gd name="T44" fmla="*/ 300 w 935"/>
                <a:gd name="T45" fmla="*/ 264 h 572"/>
                <a:gd name="T46" fmla="*/ 273 w 935"/>
                <a:gd name="T47" fmla="*/ 264 h 572"/>
                <a:gd name="T48" fmla="*/ 52 w 935"/>
                <a:gd name="T49" fmla="*/ 396 h 572"/>
                <a:gd name="T50" fmla="*/ 52 w 935"/>
                <a:gd name="T51" fmla="*/ 52 h 572"/>
                <a:gd name="T52" fmla="*/ 883 w 935"/>
                <a:gd name="T53" fmla="*/ 52 h 572"/>
                <a:gd name="T54" fmla="*/ 883 w 935"/>
                <a:gd name="T55" fmla="*/ 39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5" h="572">
                  <a:moveTo>
                    <a:pt x="909" y="0"/>
                  </a:moveTo>
                  <a:cubicBezTo>
                    <a:pt x="26" y="0"/>
                    <a:pt x="26" y="0"/>
                    <a:pt x="26" y="0"/>
                  </a:cubicBezTo>
                  <a:cubicBezTo>
                    <a:pt x="12" y="0"/>
                    <a:pt x="0" y="12"/>
                    <a:pt x="0" y="26"/>
                  </a:cubicBezTo>
                  <a:cubicBezTo>
                    <a:pt x="0" y="546"/>
                    <a:pt x="0" y="546"/>
                    <a:pt x="0" y="546"/>
                  </a:cubicBezTo>
                  <a:cubicBezTo>
                    <a:pt x="0" y="560"/>
                    <a:pt x="12" y="572"/>
                    <a:pt x="26" y="572"/>
                  </a:cubicBezTo>
                  <a:cubicBezTo>
                    <a:pt x="909" y="572"/>
                    <a:pt x="909" y="572"/>
                    <a:pt x="909" y="572"/>
                  </a:cubicBezTo>
                  <a:cubicBezTo>
                    <a:pt x="923" y="572"/>
                    <a:pt x="935" y="560"/>
                    <a:pt x="935" y="546"/>
                  </a:cubicBezTo>
                  <a:cubicBezTo>
                    <a:pt x="935" y="26"/>
                    <a:pt x="935" y="26"/>
                    <a:pt x="935" y="26"/>
                  </a:cubicBezTo>
                  <a:cubicBezTo>
                    <a:pt x="935" y="12"/>
                    <a:pt x="923" y="0"/>
                    <a:pt x="909" y="0"/>
                  </a:cubicBezTo>
                  <a:close/>
                  <a:moveTo>
                    <a:pt x="883" y="520"/>
                  </a:moveTo>
                  <a:cubicBezTo>
                    <a:pt x="52" y="520"/>
                    <a:pt x="52" y="520"/>
                    <a:pt x="52" y="520"/>
                  </a:cubicBezTo>
                  <a:cubicBezTo>
                    <a:pt x="52" y="457"/>
                    <a:pt x="52" y="457"/>
                    <a:pt x="52" y="457"/>
                  </a:cubicBezTo>
                  <a:cubicBezTo>
                    <a:pt x="285" y="317"/>
                    <a:pt x="285" y="317"/>
                    <a:pt x="285" y="317"/>
                  </a:cubicBezTo>
                  <a:cubicBezTo>
                    <a:pt x="513" y="464"/>
                    <a:pt x="513" y="464"/>
                    <a:pt x="513" y="464"/>
                  </a:cubicBezTo>
                  <a:cubicBezTo>
                    <a:pt x="520" y="469"/>
                    <a:pt x="530" y="469"/>
                    <a:pt x="539" y="465"/>
                  </a:cubicBezTo>
                  <a:cubicBezTo>
                    <a:pt x="727" y="368"/>
                    <a:pt x="727" y="368"/>
                    <a:pt x="727" y="368"/>
                  </a:cubicBezTo>
                  <a:cubicBezTo>
                    <a:pt x="883" y="457"/>
                    <a:pt x="883" y="457"/>
                    <a:pt x="883" y="457"/>
                  </a:cubicBezTo>
                  <a:lnTo>
                    <a:pt x="883" y="520"/>
                  </a:lnTo>
                  <a:close/>
                  <a:moveTo>
                    <a:pt x="883" y="397"/>
                  </a:moveTo>
                  <a:cubicBezTo>
                    <a:pt x="740" y="315"/>
                    <a:pt x="740" y="315"/>
                    <a:pt x="740" y="315"/>
                  </a:cubicBezTo>
                  <a:cubicBezTo>
                    <a:pt x="733" y="311"/>
                    <a:pt x="723" y="311"/>
                    <a:pt x="715" y="315"/>
                  </a:cubicBezTo>
                  <a:cubicBezTo>
                    <a:pt x="528" y="412"/>
                    <a:pt x="528" y="412"/>
                    <a:pt x="528" y="412"/>
                  </a:cubicBezTo>
                  <a:cubicBezTo>
                    <a:pt x="300" y="264"/>
                    <a:pt x="300" y="264"/>
                    <a:pt x="300" y="264"/>
                  </a:cubicBezTo>
                  <a:cubicBezTo>
                    <a:pt x="292" y="259"/>
                    <a:pt x="281" y="259"/>
                    <a:pt x="273" y="264"/>
                  </a:cubicBezTo>
                  <a:cubicBezTo>
                    <a:pt x="52" y="396"/>
                    <a:pt x="52" y="396"/>
                    <a:pt x="52" y="396"/>
                  </a:cubicBezTo>
                  <a:cubicBezTo>
                    <a:pt x="52" y="52"/>
                    <a:pt x="52" y="52"/>
                    <a:pt x="52" y="52"/>
                  </a:cubicBezTo>
                  <a:cubicBezTo>
                    <a:pt x="883" y="52"/>
                    <a:pt x="883" y="52"/>
                    <a:pt x="883" y="52"/>
                  </a:cubicBezTo>
                  <a:lnTo>
                    <a:pt x="883"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7" name="Freeform 11">
              <a:extLst>
                <a:ext uri="{FF2B5EF4-FFF2-40B4-BE49-F238E27FC236}">
                  <a16:creationId xmlns:a16="http://schemas.microsoft.com/office/drawing/2014/main" id="{2C5E5253-8447-F973-21E3-987D1AC65E17}"/>
                </a:ext>
              </a:extLst>
            </p:cNvPr>
            <p:cNvSpPr>
              <a:spLocks noEditPoints="1"/>
            </p:cNvSpPr>
            <p:nvPr/>
          </p:nvSpPr>
          <p:spPr bwMode="auto">
            <a:xfrm>
              <a:off x="9628633" y="2261870"/>
              <a:ext cx="225425" cy="227013"/>
            </a:xfrm>
            <a:custGeom>
              <a:avLst/>
              <a:gdLst>
                <a:gd name="T0" fmla="*/ 90 w 181"/>
                <a:gd name="T1" fmla="*/ 182 h 182"/>
                <a:gd name="T2" fmla="*/ 181 w 181"/>
                <a:gd name="T3" fmla="*/ 91 h 182"/>
                <a:gd name="T4" fmla="*/ 90 w 181"/>
                <a:gd name="T5" fmla="*/ 0 h 182"/>
                <a:gd name="T6" fmla="*/ 0 w 181"/>
                <a:gd name="T7" fmla="*/ 91 h 182"/>
                <a:gd name="T8" fmla="*/ 90 w 181"/>
                <a:gd name="T9" fmla="*/ 182 h 182"/>
                <a:gd name="T10" fmla="*/ 90 w 181"/>
                <a:gd name="T11" fmla="*/ 52 h 182"/>
                <a:gd name="T12" fmla="*/ 129 w 181"/>
                <a:gd name="T13" fmla="*/ 91 h 182"/>
                <a:gd name="T14" fmla="*/ 90 w 181"/>
                <a:gd name="T15" fmla="*/ 130 h 182"/>
                <a:gd name="T16" fmla="*/ 51 w 181"/>
                <a:gd name="T17" fmla="*/ 91 h 182"/>
                <a:gd name="T18" fmla="*/ 90 w 181"/>
                <a:gd name="T19" fmla="*/ 5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182">
                  <a:moveTo>
                    <a:pt x="90" y="182"/>
                  </a:moveTo>
                  <a:cubicBezTo>
                    <a:pt x="141" y="182"/>
                    <a:pt x="181" y="141"/>
                    <a:pt x="181" y="91"/>
                  </a:cubicBezTo>
                  <a:cubicBezTo>
                    <a:pt x="181" y="41"/>
                    <a:pt x="141" y="0"/>
                    <a:pt x="90" y="0"/>
                  </a:cubicBezTo>
                  <a:cubicBezTo>
                    <a:pt x="40" y="0"/>
                    <a:pt x="0" y="41"/>
                    <a:pt x="0" y="91"/>
                  </a:cubicBezTo>
                  <a:cubicBezTo>
                    <a:pt x="0" y="141"/>
                    <a:pt x="40" y="182"/>
                    <a:pt x="90" y="182"/>
                  </a:cubicBezTo>
                  <a:close/>
                  <a:moveTo>
                    <a:pt x="90" y="52"/>
                  </a:moveTo>
                  <a:cubicBezTo>
                    <a:pt x="112" y="52"/>
                    <a:pt x="129" y="70"/>
                    <a:pt x="129" y="91"/>
                  </a:cubicBezTo>
                  <a:cubicBezTo>
                    <a:pt x="129" y="113"/>
                    <a:pt x="112" y="130"/>
                    <a:pt x="90" y="130"/>
                  </a:cubicBezTo>
                  <a:cubicBezTo>
                    <a:pt x="69" y="130"/>
                    <a:pt x="51" y="113"/>
                    <a:pt x="51" y="91"/>
                  </a:cubicBezTo>
                  <a:cubicBezTo>
                    <a:pt x="51" y="70"/>
                    <a:pt x="69" y="52"/>
                    <a:pt x="9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8" name="Freeform 12">
              <a:extLst>
                <a:ext uri="{FF2B5EF4-FFF2-40B4-BE49-F238E27FC236}">
                  <a16:creationId xmlns:a16="http://schemas.microsoft.com/office/drawing/2014/main" id="{991A0465-D250-77D4-34CD-51719D20B37A}"/>
                </a:ext>
              </a:extLst>
            </p:cNvPr>
            <p:cNvSpPr>
              <a:spLocks noEditPoints="1"/>
            </p:cNvSpPr>
            <p:nvPr/>
          </p:nvSpPr>
          <p:spPr bwMode="auto">
            <a:xfrm>
              <a:off x="8336854" y="3033078"/>
              <a:ext cx="873125" cy="596900"/>
            </a:xfrm>
            <a:custGeom>
              <a:avLst/>
              <a:gdLst>
                <a:gd name="T0" fmla="*/ 0 w 701"/>
                <a:gd name="T1" fmla="*/ 26 h 479"/>
                <a:gd name="T2" fmla="*/ 0 w 701"/>
                <a:gd name="T3" fmla="*/ 454 h 479"/>
                <a:gd name="T4" fmla="*/ 26 w 701"/>
                <a:gd name="T5" fmla="*/ 479 h 479"/>
                <a:gd name="T6" fmla="*/ 675 w 701"/>
                <a:gd name="T7" fmla="*/ 479 h 479"/>
                <a:gd name="T8" fmla="*/ 701 w 701"/>
                <a:gd name="T9" fmla="*/ 454 h 479"/>
                <a:gd name="T10" fmla="*/ 701 w 701"/>
                <a:gd name="T11" fmla="*/ 26 h 479"/>
                <a:gd name="T12" fmla="*/ 675 w 701"/>
                <a:gd name="T13" fmla="*/ 0 h 479"/>
                <a:gd name="T14" fmla="*/ 26 w 701"/>
                <a:gd name="T15" fmla="*/ 0 h 479"/>
                <a:gd name="T16" fmla="*/ 0 w 701"/>
                <a:gd name="T17" fmla="*/ 26 h 479"/>
                <a:gd name="T18" fmla="*/ 52 w 701"/>
                <a:gd name="T19" fmla="*/ 52 h 479"/>
                <a:gd name="T20" fmla="*/ 649 w 701"/>
                <a:gd name="T21" fmla="*/ 52 h 479"/>
                <a:gd name="T22" fmla="*/ 649 w 701"/>
                <a:gd name="T23" fmla="*/ 428 h 479"/>
                <a:gd name="T24" fmla="*/ 52 w 701"/>
                <a:gd name="T25" fmla="*/ 428 h 479"/>
                <a:gd name="T26" fmla="*/ 52 w 701"/>
                <a:gd name="T27" fmla="*/ 5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1" h="479">
                  <a:moveTo>
                    <a:pt x="0" y="26"/>
                  </a:moveTo>
                  <a:cubicBezTo>
                    <a:pt x="0" y="454"/>
                    <a:pt x="0" y="454"/>
                    <a:pt x="0" y="454"/>
                  </a:cubicBezTo>
                  <a:cubicBezTo>
                    <a:pt x="0" y="468"/>
                    <a:pt x="11" y="479"/>
                    <a:pt x="26" y="479"/>
                  </a:cubicBezTo>
                  <a:cubicBezTo>
                    <a:pt x="675" y="479"/>
                    <a:pt x="675" y="479"/>
                    <a:pt x="675" y="479"/>
                  </a:cubicBezTo>
                  <a:cubicBezTo>
                    <a:pt x="689" y="479"/>
                    <a:pt x="701" y="468"/>
                    <a:pt x="701" y="454"/>
                  </a:cubicBezTo>
                  <a:cubicBezTo>
                    <a:pt x="701" y="26"/>
                    <a:pt x="701" y="26"/>
                    <a:pt x="701" y="26"/>
                  </a:cubicBezTo>
                  <a:cubicBezTo>
                    <a:pt x="701" y="11"/>
                    <a:pt x="689" y="0"/>
                    <a:pt x="675" y="0"/>
                  </a:cubicBezTo>
                  <a:cubicBezTo>
                    <a:pt x="26" y="0"/>
                    <a:pt x="26" y="0"/>
                    <a:pt x="26" y="0"/>
                  </a:cubicBezTo>
                  <a:cubicBezTo>
                    <a:pt x="11" y="0"/>
                    <a:pt x="0" y="11"/>
                    <a:pt x="0" y="26"/>
                  </a:cubicBezTo>
                  <a:close/>
                  <a:moveTo>
                    <a:pt x="52" y="52"/>
                  </a:moveTo>
                  <a:cubicBezTo>
                    <a:pt x="649" y="52"/>
                    <a:pt x="649" y="52"/>
                    <a:pt x="649" y="52"/>
                  </a:cubicBezTo>
                  <a:cubicBezTo>
                    <a:pt x="649" y="428"/>
                    <a:pt x="649" y="428"/>
                    <a:pt x="649" y="428"/>
                  </a:cubicBezTo>
                  <a:cubicBezTo>
                    <a:pt x="52" y="428"/>
                    <a:pt x="52" y="428"/>
                    <a:pt x="52" y="428"/>
                  </a:cubicBez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9" name="Rectangle 13">
              <a:extLst>
                <a:ext uri="{FF2B5EF4-FFF2-40B4-BE49-F238E27FC236}">
                  <a16:creationId xmlns:a16="http://schemas.microsoft.com/office/drawing/2014/main" id="{A0F19D76-B2AA-73B3-A1F3-6956008D1EDF}"/>
                </a:ext>
              </a:extLst>
            </p:cNvPr>
            <p:cNvSpPr>
              <a:spLocks noChangeArrowheads="1"/>
            </p:cNvSpPr>
            <p:nvPr/>
          </p:nvSpPr>
          <p:spPr bwMode="auto">
            <a:xfrm>
              <a:off x="8528496" y="2068195"/>
              <a:ext cx="65088"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0" name="Rectangle 14">
              <a:extLst>
                <a:ext uri="{FF2B5EF4-FFF2-40B4-BE49-F238E27FC236}">
                  <a16:creationId xmlns:a16="http://schemas.microsoft.com/office/drawing/2014/main" id="{CF97C286-88A4-8D01-A721-CA02BF128FF5}"/>
                </a:ext>
              </a:extLst>
            </p:cNvPr>
            <p:cNvSpPr>
              <a:spLocks noChangeArrowheads="1"/>
            </p:cNvSpPr>
            <p:nvPr/>
          </p:nvSpPr>
          <p:spPr bwMode="auto">
            <a:xfrm>
              <a:off x="8658671" y="2068195"/>
              <a:ext cx="63500"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1" name="Rectangle 15">
              <a:extLst>
                <a:ext uri="{FF2B5EF4-FFF2-40B4-BE49-F238E27FC236}">
                  <a16:creationId xmlns:a16="http://schemas.microsoft.com/office/drawing/2014/main" id="{177657A2-25E9-8724-BD7D-EDB0D02F4F04}"/>
                </a:ext>
              </a:extLst>
            </p:cNvPr>
            <p:cNvSpPr>
              <a:spLocks noChangeArrowheads="1"/>
            </p:cNvSpPr>
            <p:nvPr/>
          </p:nvSpPr>
          <p:spPr bwMode="auto">
            <a:xfrm>
              <a:off x="8785671" y="2068195"/>
              <a:ext cx="65088"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2" name="Rectangle 16">
              <a:extLst>
                <a:ext uri="{FF2B5EF4-FFF2-40B4-BE49-F238E27FC236}">
                  <a16:creationId xmlns:a16="http://schemas.microsoft.com/office/drawing/2014/main" id="{73A6E531-FDDC-D588-39A6-FB5C3972B5FA}"/>
                </a:ext>
              </a:extLst>
            </p:cNvPr>
            <p:cNvSpPr>
              <a:spLocks noChangeArrowheads="1"/>
            </p:cNvSpPr>
            <p:nvPr/>
          </p:nvSpPr>
          <p:spPr bwMode="auto">
            <a:xfrm>
              <a:off x="8528496" y="2198370"/>
              <a:ext cx="387350"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3" name="Freeform 17">
              <a:extLst>
                <a:ext uri="{FF2B5EF4-FFF2-40B4-BE49-F238E27FC236}">
                  <a16:creationId xmlns:a16="http://schemas.microsoft.com/office/drawing/2014/main" id="{C5F14B87-37F9-CEB8-ABD1-95AD9727ED95}"/>
                </a:ext>
              </a:extLst>
            </p:cNvPr>
            <p:cNvSpPr>
              <a:spLocks noEditPoints="1"/>
            </p:cNvSpPr>
            <p:nvPr/>
          </p:nvSpPr>
          <p:spPr bwMode="auto">
            <a:xfrm>
              <a:off x="9275066" y="3161665"/>
              <a:ext cx="679450" cy="454025"/>
            </a:xfrm>
            <a:custGeom>
              <a:avLst/>
              <a:gdLst>
                <a:gd name="T0" fmla="*/ 519 w 545"/>
                <a:gd name="T1" fmla="*/ 0 h 364"/>
                <a:gd name="T2" fmla="*/ 26 w 545"/>
                <a:gd name="T3" fmla="*/ 0 h 364"/>
                <a:gd name="T4" fmla="*/ 0 w 545"/>
                <a:gd name="T5" fmla="*/ 26 h 364"/>
                <a:gd name="T6" fmla="*/ 0 w 545"/>
                <a:gd name="T7" fmla="*/ 338 h 364"/>
                <a:gd name="T8" fmla="*/ 26 w 545"/>
                <a:gd name="T9" fmla="*/ 364 h 364"/>
                <a:gd name="T10" fmla="*/ 519 w 545"/>
                <a:gd name="T11" fmla="*/ 364 h 364"/>
                <a:gd name="T12" fmla="*/ 545 w 545"/>
                <a:gd name="T13" fmla="*/ 338 h 364"/>
                <a:gd name="T14" fmla="*/ 545 w 545"/>
                <a:gd name="T15" fmla="*/ 26 h 364"/>
                <a:gd name="T16" fmla="*/ 519 w 545"/>
                <a:gd name="T17" fmla="*/ 0 h 364"/>
                <a:gd name="T18" fmla="*/ 493 w 545"/>
                <a:gd name="T19" fmla="*/ 312 h 364"/>
                <a:gd name="T20" fmla="*/ 52 w 545"/>
                <a:gd name="T21" fmla="*/ 312 h 364"/>
                <a:gd name="T22" fmla="*/ 52 w 545"/>
                <a:gd name="T23" fmla="*/ 52 h 364"/>
                <a:gd name="T24" fmla="*/ 493 w 545"/>
                <a:gd name="T25" fmla="*/ 52 h 364"/>
                <a:gd name="T26" fmla="*/ 493 w 545"/>
                <a:gd name="T27" fmla="*/ 312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5" h="364">
                  <a:moveTo>
                    <a:pt x="519" y="0"/>
                  </a:moveTo>
                  <a:cubicBezTo>
                    <a:pt x="26" y="0"/>
                    <a:pt x="26" y="0"/>
                    <a:pt x="26" y="0"/>
                  </a:cubicBezTo>
                  <a:cubicBezTo>
                    <a:pt x="11" y="0"/>
                    <a:pt x="0" y="12"/>
                    <a:pt x="0" y="26"/>
                  </a:cubicBezTo>
                  <a:cubicBezTo>
                    <a:pt x="0" y="338"/>
                    <a:pt x="0" y="338"/>
                    <a:pt x="0" y="338"/>
                  </a:cubicBezTo>
                  <a:cubicBezTo>
                    <a:pt x="0" y="352"/>
                    <a:pt x="11" y="364"/>
                    <a:pt x="26" y="364"/>
                  </a:cubicBezTo>
                  <a:cubicBezTo>
                    <a:pt x="519" y="364"/>
                    <a:pt x="519" y="364"/>
                    <a:pt x="519" y="364"/>
                  </a:cubicBezTo>
                  <a:cubicBezTo>
                    <a:pt x="533" y="364"/>
                    <a:pt x="545" y="352"/>
                    <a:pt x="545" y="338"/>
                  </a:cubicBezTo>
                  <a:cubicBezTo>
                    <a:pt x="545" y="26"/>
                    <a:pt x="545" y="26"/>
                    <a:pt x="545" y="26"/>
                  </a:cubicBezTo>
                  <a:cubicBezTo>
                    <a:pt x="545" y="12"/>
                    <a:pt x="533" y="0"/>
                    <a:pt x="519" y="0"/>
                  </a:cubicBezTo>
                  <a:close/>
                  <a:moveTo>
                    <a:pt x="493" y="312"/>
                  </a:moveTo>
                  <a:cubicBezTo>
                    <a:pt x="52" y="312"/>
                    <a:pt x="52" y="312"/>
                    <a:pt x="52" y="312"/>
                  </a:cubicBezTo>
                  <a:cubicBezTo>
                    <a:pt x="52" y="52"/>
                    <a:pt x="52" y="52"/>
                    <a:pt x="52" y="52"/>
                  </a:cubicBezTo>
                  <a:cubicBezTo>
                    <a:pt x="493" y="52"/>
                    <a:pt x="493" y="52"/>
                    <a:pt x="493" y="52"/>
                  </a:cubicBezTo>
                  <a:lnTo>
                    <a:pt x="493"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4" name="Rectangle 18">
              <a:extLst>
                <a:ext uri="{FF2B5EF4-FFF2-40B4-BE49-F238E27FC236}">
                  <a16:creationId xmlns:a16="http://schemas.microsoft.com/office/drawing/2014/main" id="{AFDB60BE-CA10-385C-F21F-EC0D4256C5BF}"/>
                </a:ext>
              </a:extLst>
            </p:cNvPr>
            <p:cNvSpPr>
              <a:spLocks noChangeArrowheads="1"/>
            </p:cNvSpPr>
            <p:nvPr/>
          </p:nvSpPr>
          <p:spPr bwMode="auto">
            <a:xfrm>
              <a:off x="9405241" y="3291840"/>
              <a:ext cx="63500"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5" name="Rectangle 19">
              <a:extLst>
                <a:ext uri="{FF2B5EF4-FFF2-40B4-BE49-F238E27FC236}">
                  <a16:creationId xmlns:a16="http://schemas.microsoft.com/office/drawing/2014/main" id="{EB11B993-06BB-AE7A-B413-3F342AC13E56}"/>
                </a:ext>
              </a:extLst>
            </p:cNvPr>
            <p:cNvSpPr>
              <a:spLocks noChangeArrowheads="1"/>
            </p:cNvSpPr>
            <p:nvPr/>
          </p:nvSpPr>
          <p:spPr bwMode="auto">
            <a:xfrm>
              <a:off x="9405241" y="3420428"/>
              <a:ext cx="63500"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6" name="Rectangle 20">
              <a:extLst>
                <a:ext uri="{FF2B5EF4-FFF2-40B4-BE49-F238E27FC236}">
                  <a16:creationId xmlns:a16="http://schemas.microsoft.com/office/drawing/2014/main" id="{44FC5937-91D2-AC40-11E1-E49859AA603E}"/>
                </a:ext>
              </a:extLst>
            </p:cNvPr>
            <p:cNvSpPr>
              <a:spLocks noChangeArrowheads="1"/>
            </p:cNvSpPr>
            <p:nvPr/>
          </p:nvSpPr>
          <p:spPr bwMode="auto">
            <a:xfrm>
              <a:off x="9532241" y="3291840"/>
              <a:ext cx="292100"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7" name="Rectangle 21">
              <a:extLst>
                <a:ext uri="{FF2B5EF4-FFF2-40B4-BE49-F238E27FC236}">
                  <a16:creationId xmlns:a16="http://schemas.microsoft.com/office/drawing/2014/main" id="{1F52BDD9-E102-4BC1-6277-A6393876E640}"/>
                </a:ext>
              </a:extLst>
            </p:cNvPr>
            <p:cNvSpPr>
              <a:spLocks noChangeArrowheads="1"/>
            </p:cNvSpPr>
            <p:nvPr/>
          </p:nvSpPr>
          <p:spPr bwMode="auto">
            <a:xfrm>
              <a:off x="9532241" y="3420428"/>
              <a:ext cx="292100"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8" name="Rectangle 22">
              <a:extLst>
                <a:ext uri="{FF2B5EF4-FFF2-40B4-BE49-F238E27FC236}">
                  <a16:creationId xmlns:a16="http://schemas.microsoft.com/office/drawing/2014/main" id="{85A952BD-03FA-022A-7A86-45473CDCC424}"/>
                </a:ext>
              </a:extLst>
            </p:cNvPr>
            <p:cNvSpPr>
              <a:spLocks noChangeArrowheads="1"/>
            </p:cNvSpPr>
            <p:nvPr/>
          </p:nvSpPr>
          <p:spPr bwMode="auto">
            <a:xfrm>
              <a:off x="9694166" y="2967990"/>
              <a:ext cx="65088"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9" name="Freeform 23">
              <a:extLst>
                <a:ext uri="{FF2B5EF4-FFF2-40B4-BE49-F238E27FC236}">
                  <a16:creationId xmlns:a16="http://schemas.microsoft.com/office/drawing/2014/main" id="{C2B95F13-8554-B04B-EC2B-66F534A6ECFC}"/>
                </a:ext>
              </a:extLst>
            </p:cNvPr>
            <p:cNvSpPr>
              <a:spLocks noEditPoints="1"/>
            </p:cNvSpPr>
            <p:nvPr/>
          </p:nvSpPr>
          <p:spPr bwMode="auto">
            <a:xfrm>
              <a:off x="8681341" y="3215640"/>
              <a:ext cx="215900" cy="217488"/>
            </a:xfrm>
            <a:custGeom>
              <a:avLst/>
              <a:gdLst>
                <a:gd name="T0" fmla="*/ 8 w 173"/>
                <a:gd name="T1" fmla="*/ 3 h 175"/>
                <a:gd name="T2" fmla="*/ 0 w 173"/>
                <a:gd name="T3" fmla="*/ 18 h 175"/>
                <a:gd name="T4" fmla="*/ 0 w 173"/>
                <a:gd name="T5" fmla="*/ 156 h 175"/>
                <a:gd name="T6" fmla="*/ 8 w 173"/>
                <a:gd name="T7" fmla="*/ 171 h 175"/>
                <a:gd name="T8" fmla="*/ 25 w 173"/>
                <a:gd name="T9" fmla="*/ 172 h 175"/>
                <a:gd name="T10" fmla="*/ 163 w 173"/>
                <a:gd name="T11" fmla="*/ 103 h 175"/>
                <a:gd name="T12" fmla="*/ 173 w 173"/>
                <a:gd name="T13" fmla="*/ 87 h 175"/>
                <a:gd name="T14" fmla="*/ 163 w 173"/>
                <a:gd name="T15" fmla="*/ 72 h 175"/>
                <a:gd name="T16" fmla="*/ 25 w 173"/>
                <a:gd name="T17" fmla="*/ 3 h 175"/>
                <a:gd name="T18" fmla="*/ 8 w 173"/>
                <a:gd name="T19" fmla="*/ 3 h 175"/>
                <a:gd name="T20" fmla="*/ 34 w 173"/>
                <a:gd name="T21" fmla="*/ 46 h 175"/>
                <a:gd name="T22" fmla="*/ 117 w 173"/>
                <a:gd name="T23" fmla="*/ 87 h 175"/>
                <a:gd name="T24" fmla="*/ 34 w 173"/>
                <a:gd name="T25" fmla="*/ 128 h 175"/>
                <a:gd name="T26" fmla="*/ 34 w 173"/>
                <a:gd name="T27" fmla="*/ 4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75">
                  <a:moveTo>
                    <a:pt x="8" y="3"/>
                  </a:moveTo>
                  <a:cubicBezTo>
                    <a:pt x="3" y="7"/>
                    <a:pt x="0" y="12"/>
                    <a:pt x="0" y="18"/>
                  </a:cubicBezTo>
                  <a:cubicBezTo>
                    <a:pt x="0" y="156"/>
                    <a:pt x="0" y="156"/>
                    <a:pt x="0" y="156"/>
                  </a:cubicBezTo>
                  <a:cubicBezTo>
                    <a:pt x="0" y="162"/>
                    <a:pt x="3" y="168"/>
                    <a:pt x="8" y="171"/>
                  </a:cubicBezTo>
                  <a:cubicBezTo>
                    <a:pt x="13" y="174"/>
                    <a:pt x="19" y="175"/>
                    <a:pt x="25" y="172"/>
                  </a:cubicBezTo>
                  <a:cubicBezTo>
                    <a:pt x="163" y="103"/>
                    <a:pt x="163" y="103"/>
                    <a:pt x="163" y="103"/>
                  </a:cubicBezTo>
                  <a:cubicBezTo>
                    <a:pt x="169" y="100"/>
                    <a:pt x="173" y="94"/>
                    <a:pt x="173" y="87"/>
                  </a:cubicBezTo>
                  <a:cubicBezTo>
                    <a:pt x="173" y="81"/>
                    <a:pt x="169" y="75"/>
                    <a:pt x="163" y="72"/>
                  </a:cubicBezTo>
                  <a:cubicBezTo>
                    <a:pt x="25" y="3"/>
                    <a:pt x="25" y="3"/>
                    <a:pt x="25" y="3"/>
                  </a:cubicBezTo>
                  <a:cubicBezTo>
                    <a:pt x="19" y="0"/>
                    <a:pt x="13" y="0"/>
                    <a:pt x="8" y="3"/>
                  </a:cubicBezTo>
                  <a:close/>
                  <a:moveTo>
                    <a:pt x="34" y="46"/>
                  </a:moveTo>
                  <a:cubicBezTo>
                    <a:pt x="117" y="87"/>
                    <a:pt x="117" y="87"/>
                    <a:pt x="117" y="87"/>
                  </a:cubicBezTo>
                  <a:cubicBezTo>
                    <a:pt x="34" y="128"/>
                    <a:pt x="34" y="128"/>
                    <a:pt x="34" y="128"/>
                  </a:cubicBezTo>
                  <a:lnTo>
                    <a:pt x="34"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0" name="Freeform 24">
              <a:extLst>
                <a:ext uri="{FF2B5EF4-FFF2-40B4-BE49-F238E27FC236}">
                  <a16:creationId xmlns:a16="http://schemas.microsoft.com/office/drawing/2014/main" id="{C5230713-1B4F-3A66-DCAF-528686673831}"/>
                </a:ext>
              </a:extLst>
            </p:cNvPr>
            <p:cNvSpPr>
              <a:spLocks/>
            </p:cNvSpPr>
            <p:nvPr/>
          </p:nvSpPr>
          <p:spPr bwMode="auto">
            <a:xfrm>
              <a:off x="7981951" y="2444750"/>
              <a:ext cx="2322513" cy="1436688"/>
            </a:xfrm>
            <a:custGeom>
              <a:avLst/>
              <a:gdLst>
                <a:gd name="T0" fmla="*/ 177 w 1864"/>
                <a:gd name="T1" fmla="*/ 0 h 1154"/>
                <a:gd name="T2" fmla="*/ 44 w 1864"/>
                <a:gd name="T3" fmla="*/ 0 h 1154"/>
                <a:gd name="T4" fmla="*/ 0 w 1864"/>
                <a:gd name="T5" fmla="*/ 44 h 1154"/>
                <a:gd name="T6" fmla="*/ 0 w 1864"/>
                <a:gd name="T7" fmla="*/ 1110 h 1154"/>
                <a:gd name="T8" fmla="*/ 44 w 1864"/>
                <a:gd name="T9" fmla="*/ 1154 h 1154"/>
                <a:gd name="T10" fmla="*/ 1820 w 1864"/>
                <a:gd name="T11" fmla="*/ 1154 h 1154"/>
                <a:gd name="T12" fmla="*/ 1864 w 1864"/>
                <a:gd name="T13" fmla="*/ 1110 h 1154"/>
                <a:gd name="T14" fmla="*/ 1864 w 1864"/>
                <a:gd name="T15" fmla="*/ 222 h 1154"/>
                <a:gd name="T16" fmla="*/ 1820 w 1864"/>
                <a:gd name="T17" fmla="*/ 178 h 1154"/>
                <a:gd name="T18" fmla="*/ 1776 w 1864"/>
                <a:gd name="T19" fmla="*/ 222 h 1154"/>
                <a:gd name="T20" fmla="*/ 1776 w 1864"/>
                <a:gd name="T21" fmla="*/ 1066 h 1154"/>
                <a:gd name="T22" fmla="*/ 88 w 1864"/>
                <a:gd name="T23" fmla="*/ 1066 h 1154"/>
                <a:gd name="T24" fmla="*/ 88 w 1864"/>
                <a:gd name="T25" fmla="*/ 89 h 1154"/>
                <a:gd name="T26" fmla="*/ 177 w 1864"/>
                <a:gd name="T27" fmla="*/ 89 h 1154"/>
                <a:gd name="T28" fmla="*/ 222 w 1864"/>
                <a:gd name="T29" fmla="*/ 44 h 1154"/>
                <a:gd name="T30" fmla="*/ 177 w 1864"/>
                <a:gd name="T31" fmla="*/ 0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4" h="1154">
                  <a:moveTo>
                    <a:pt x="177" y="0"/>
                  </a:moveTo>
                  <a:cubicBezTo>
                    <a:pt x="44" y="0"/>
                    <a:pt x="44" y="0"/>
                    <a:pt x="44" y="0"/>
                  </a:cubicBezTo>
                  <a:cubicBezTo>
                    <a:pt x="19" y="0"/>
                    <a:pt x="0" y="20"/>
                    <a:pt x="0" y="44"/>
                  </a:cubicBezTo>
                  <a:cubicBezTo>
                    <a:pt x="0" y="1110"/>
                    <a:pt x="0" y="1110"/>
                    <a:pt x="0" y="1110"/>
                  </a:cubicBezTo>
                  <a:cubicBezTo>
                    <a:pt x="0" y="1135"/>
                    <a:pt x="19" y="1154"/>
                    <a:pt x="44" y="1154"/>
                  </a:cubicBezTo>
                  <a:cubicBezTo>
                    <a:pt x="1820" y="1154"/>
                    <a:pt x="1820" y="1154"/>
                    <a:pt x="1820" y="1154"/>
                  </a:cubicBezTo>
                  <a:cubicBezTo>
                    <a:pt x="1845" y="1154"/>
                    <a:pt x="1864" y="1135"/>
                    <a:pt x="1864" y="1110"/>
                  </a:cubicBezTo>
                  <a:cubicBezTo>
                    <a:pt x="1864" y="222"/>
                    <a:pt x="1864" y="222"/>
                    <a:pt x="1864" y="222"/>
                  </a:cubicBezTo>
                  <a:cubicBezTo>
                    <a:pt x="1864" y="197"/>
                    <a:pt x="1845" y="178"/>
                    <a:pt x="1820" y="178"/>
                  </a:cubicBezTo>
                  <a:cubicBezTo>
                    <a:pt x="1795" y="178"/>
                    <a:pt x="1776" y="197"/>
                    <a:pt x="1776" y="222"/>
                  </a:cubicBezTo>
                  <a:cubicBezTo>
                    <a:pt x="1776" y="1066"/>
                    <a:pt x="1776" y="1066"/>
                    <a:pt x="1776" y="1066"/>
                  </a:cubicBezTo>
                  <a:cubicBezTo>
                    <a:pt x="88" y="1066"/>
                    <a:pt x="88" y="1066"/>
                    <a:pt x="88" y="1066"/>
                  </a:cubicBezTo>
                  <a:cubicBezTo>
                    <a:pt x="88" y="89"/>
                    <a:pt x="88" y="89"/>
                    <a:pt x="88" y="89"/>
                  </a:cubicBezTo>
                  <a:cubicBezTo>
                    <a:pt x="177" y="89"/>
                    <a:pt x="177" y="89"/>
                    <a:pt x="177" y="89"/>
                  </a:cubicBezTo>
                  <a:cubicBezTo>
                    <a:pt x="202" y="89"/>
                    <a:pt x="222" y="69"/>
                    <a:pt x="222" y="44"/>
                  </a:cubicBezTo>
                  <a:cubicBezTo>
                    <a:pt x="222" y="20"/>
                    <a:pt x="202" y="0"/>
                    <a:pt x="17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1" name="Freeform 25">
              <a:extLst>
                <a:ext uri="{FF2B5EF4-FFF2-40B4-BE49-F238E27FC236}">
                  <a16:creationId xmlns:a16="http://schemas.microsoft.com/office/drawing/2014/main" id="{F2E7AFBA-F75E-D235-0B89-5D371CBB4FF9}"/>
                </a:ext>
              </a:extLst>
            </p:cNvPr>
            <p:cNvSpPr>
              <a:spLocks noEditPoints="1"/>
            </p:cNvSpPr>
            <p:nvPr/>
          </p:nvSpPr>
          <p:spPr bwMode="auto">
            <a:xfrm>
              <a:off x="7759701" y="2444750"/>
              <a:ext cx="2765425" cy="2211388"/>
            </a:xfrm>
            <a:custGeom>
              <a:avLst/>
              <a:gdLst>
                <a:gd name="T0" fmla="*/ 2176 w 2220"/>
                <a:gd name="T1" fmla="*/ 178 h 1776"/>
                <a:gd name="T2" fmla="*/ 2131 w 2220"/>
                <a:gd name="T3" fmla="*/ 222 h 1776"/>
                <a:gd name="T4" fmla="*/ 2131 w 2220"/>
                <a:gd name="T5" fmla="*/ 1199 h 1776"/>
                <a:gd name="T6" fmla="*/ 2087 w 2220"/>
                <a:gd name="T7" fmla="*/ 1243 h 1776"/>
                <a:gd name="T8" fmla="*/ 133 w 2220"/>
                <a:gd name="T9" fmla="*/ 1243 h 1776"/>
                <a:gd name="T10" fmla="*/ 89 w 2220"/>
                <a:gd name="T11" fmla="*/ 1199 h 1776"/>
                <a:gd name="T12" fmla="*/ 89 w 2220"/>
                <a:gd name="T13" fmla="*/ 44 h 1776"/>
                <a:gd name="T14" fmla="*/ 44 w 2220"/>
                <a:gd name="T15" fmla="*/ 0 h 1776"/>
                <a:gd name="T16" fmla="*/ 0 w 2220"/>
                <a:gd name="T17" fmla="*/ 44 h 1776"/>
                <a:gd name="T18" fmla="*/ 0 w 2220"/>
                <a:gd name="T19" fmla="*/ 1199 h 1776"/>
                <a:gd name="T20" fmla="*/ 133 w 2220"/>
                <a:gd name="T21" fmla="*/ 1332 h 1776"/>
                <a:gd name="T22" fmla="*/ 755 w 2220"/>
                <a:gd name="T23" fmla="*/ 1332 h 1776"/>
                <a:gd name="T24" fmla="*/ 755 w 2220"/>
                <a:gd name="T25" fmla="*/ 1510 h 1776"/>
                <a:gd name="T26" fmla="*/ 488 w 2220"/>
                <a:gd name="T27" fmla="*/ 1510 h 1776"/>
                <a:gd name="T28" fmla="*/ 355 w 2220"/>
                <a:gd name="T29" fmla="*/ 1643 h 1776"/>
                <a:gd name="T30" fmla="*/ 488 w 2220"/>
                <a:gd name="T31" fmla="*/ 1776 h 1776"/>
                <a:gd name="T32" fmla="*/ 1732 w 2220"/>
                <a:gd name="T33" fmla="*/ 1776 h 1776"/>
                <a:gd name="T34" fmla="*/ 1776 w 2220"/>
                <a:gd name="T35" fmla="*/ 1732 h 1776"/>
                <a:gd name="T36" fmla="*/ 1732 w 2220"/>
                <a:gd name="T37" fmla="*/ 1687 h 1776"/>
                <a:gd name="T38" fmla="*/ 488 w 2220"/>
                <a:gd name="T39" fmla="*/ 1687 h 1776"/>
                <a:gd name="T40" fmla="*/ 444 w 2220"/>
                <a:gd name="T41" fmla="*/ 1643 h 1776"/>
                <a:gd name="T42" fmla="*/ 488 w 2220"/>
                <a:gd name="T43" fmla="*/ 1598 h 1776"/>
                <a:gd name="T44" fmla="*/ 1732 w 2220"/>
                <a:gd name="T45" fmla="*/ 1598 h 1776"/>
                <a:gd name="T46" fmla="*/ 1776 w 2220"/>
                <a:gd name="T47" fmla="*/ 1554 h 1776"/>
                <a:gd name="T48" fmla="*/ 1732 w 2220"/>
                <a:gd name="T49" fmla="*/ 1510 h 1776"/>
                <a:gd name="T50" fmla="*/ 1465 w 2220"/>
                <a:gd name="T51" fmla="*/ 1510 h 1776"/>
                <a:gd name="T52" fmla="*/ 1465 w 2220"/>
                <a:gd name="T53" fmla="*/ 1332 h 1776"/>
                <a:gd name="T54" fmla="*/ 2087 w 2220"/>
                <a:gd name="T55" fmla="*/ 1332 h 1776"/>
                <a:gd name="T56" fmla="*/ 2220 w 2220"/>
                <a:gd name="T57" fmla="*/ 1199 h 1776"/>
                <a:gd name="T58" fmla="*/ 2220 w 2220"/>
                <a:gd name="T59" fmla="*/ 222 h 1776"/>
                <a:gd name="T60" fmla="*/ 2176 w 2220"/>
                <a:gd name="T61" fmla="*/ 178 h 1776"/>
                <a:gd name="T62" fmla="*/ 1376 w 2220"/>
                <a:gd name="T63" fmla="*/ 1510 h 1776"/>
                <a:gd name="T64" fmla="*/ 844 w 2220"/>
                <a:gd name="T65" fmla="*/ 1510 h 1776"/>
                <a:gd name="T66" fmla="*/ 844 w 2220"/>
                <a:gd name="T67" fmla="*/ 1332 h 1776"/>
                <a:gd name="T68" fmla="*/ 1376 w 2220"/>
                <a:gd name="T69" fmla="*/ 1332 h 1776"/>
                <a:gd name="T70" fmla="*/ 1376 w 2220"/>
                <a:gd name="T71" fmla="*/ 1510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20" h="1776">
                  <a:moveTo>
                    <a:pt x="2176" y="178"/>
                  </a:moveTo>
                  <a:cubicBezTo>
                    <a:pt x="2151" y="178"/>
                    <a:pt x="2131" y="197"/>
                    <a:pt x="2131" y="222"/>
                  </a:cubicBezTo>
                  <a:cubicBezTo>
                    <a:pt x="2131" y="1199"/>
                    <a:pt x="2131" y="1199"/>
                    <a:pt x="2131" y="1199"/>
                  </a:cubicBezTo>
                  <a:cubicBezTo>
                    <a:pt x="2131" y="1223"/>
                    <a:pt x="2111" y="1243"/>
                    <a:pt x="2087" y="1243"/>
                  </a:cubicBezTo>
                  <a:cubicBezTo>
                    <a:pt x="133" y="1243"/>
                    <a:pt x="133" y="1243"/>
                    <a:pt x="133" y="1243"/>
                  </a:cubicBezTo>
                  <a:cubicBezTo>
                    <a:pt x="109" y="1243"/>
                    <a:pt x="89" y="1223"/>
                    <a:pt x="89" y="1199"/>
                  </a:cubicBezTo>
                  <a:cubicBezTo>
                    <a:pt x="89" y="44"/>
                    <a:pt x="89" y="44"/>
                    <a:pt x="89" y="44"/>
                  </a:cubicBezTo>
                  <a:cubicBezTo>
                    <a:pt x="89" y="20"/>
                    <a:pt x="69" y="0"/>
                    <a:pt x="44" y="0"/>
                  </a:cubicBezTo>
                  <a:cubicBezTo>
                    <a:pt x="20" y="0"/>
                    <a:pt x="0" y="20"/>
                    <a:pt x="0" y="44"/>
                  </a:cubicBezTo>
                  <a:cubicBezTo>
                    <a:pt x="0" y="1199"/>
                    <a:pt x="0" y="1199"/>
                    <a:pt x="0" y="1199"/>
                  </a:cubicBezTo>
                  <a:cubicBezTo>
                    <a:pt x="0" y="1272"/>
                    <a:pt x="60" y="1332"/>
                    <a:pt x="133" y="1332"/>
                  </a:cubicBezTo>
                  <a:cubicBezTo>
                    <a:pt x="755" y="1332"/>
                    <a:pt x="755" y="1332"/>
                    <a:pt x="755" y="1332"/>
                  </a:cubicBezTo>
                  <a:cubicBezTo>
                    <a:pt x="755" y="1510"/>
                    <a:pt x="755" y="1510"/>
                    <a:pt x="755" y="1510"/>
                  </a:cubicBezTo>
                  <a:cubicBezTo>
                    <a:pt x="488" y="1510"/>
                    <a:pt x="488" y="1510"/>
                    <a:pt x="488" y="1510"/>
                  </a:cubicBezTo>
                  <a:cubicBezTo>
                    <a:pt x="415" y="1510"/>
                    <a:pt x="355" y="1569"/>
                    <a:pt x="355" y="1643"/>
                  </a:cubicBezTo>
                  <a:cubicBezTo>
                    <a:pt x="355" y="1716"/>
                    <a:pt x="415" y="1776"/>
                    <a:pt x="488" y="1776"/>
                  </a:cubicBezTo>
                  <a:cubicBezTo>
                    <a:pt x="1732" y="1776"/>
                    <a:pt x="1732" y="1776"/>
                    <a:pt x="1732" y="1776"/>
                  </a:cubicBezTo>
                  <a:cubicBezTo>
                    <a:pt x="1756" y="1776"/>
                    <a:pt x="1776" y="1756"/>
                    <a:pt x="1776" y="1732"/>
                  </a:cubicBezTo>
                  <a:cubicBezTo>
                    <a:pt x="1776" y="1707"/>
                    <a:pt x="1756" y="1687"/>
                    <a:pt x="1732" y="1687"/>
                  </a:cubicBezTo>
                  <a:cubicBezTo>
                    <a:pt x="488" y="1687"/>
                    <a:pt x="488" y="1687"/>
                    <a:pt x="488" y="1687"/>
                  </a:cubicBezTo>
                  <a:cubicBezTo>
                    <a:pt x="464" y="1687"/>
                    <a:pt x="444" y="1667"/>
                    <a:pt x="444" y="1643"/>
                  </a:cubicBezTo>
                  <a:cubicBezTo>
                    <a:pt x="444" y="1618"/>
                    <a:pt x="464" y="1598"/>
                    <a:pt x="488" y="1598"/>
                  </a:cubicBezTo>
                  <a:cubicBezTo>
                    <a:pt x="1732" y="1598"/>
                    <a:pt x="1732" y="1598"/>
                    <a:pt x="1732" y="1598"/>
                  </a:cubicBezTo>
                  <a:cubicBezTo>
                    <a:pt x="1756" y="1598"/>
                    <a:pt x="1776" y="1579"/>
                    <a:pt x="1776" y="1554"/>
                  </a:cubicBezTo>
                  <a:cubicBezTo>
                    <a:pt x="1776" y="1529"/>
                    <a:pt x="1756" y="1510"/>
                    <a:pt x="1732" y="1510"/>
                  </a:cubicBezTo>
                  <a:cubicBezTo>
                    <a:pt x="1465" y="1510"/>
                    <a:pt x="1465" y="1510"/>
                    <a:pt x="1465" y="1510"/>
                  </a:cubicBezTo>
                  <a:cubicBezTo>
                    <a:pt x="1465" y="1332"/>
                    <a:pt x="1465" y="1332"/>
                    <a:pt x="1465" y="1332"/>
                  </a:cubicBezTo>
                  <a:cubicBezTo>
                    <a:pt x="2087" y="1332"/>
                    <a:pt x="2087" y="1332"/>
                    <a:pt x="2087" y="1332"/>
                  </a:cubicBezTo>
                  <a:cubicBezTo>
                    <a:pt x="2160" y="1332"/>
                    <a:pt x="2220" y="1272"/>
                    <a:pt x="2220" y="1199"/>
                  </a:cubicBezTo>
                  <a:cubicBezTo>
                    <a:pt x="2220" y="222"/>
                    <a:pt x="2220" y="222"/>
                    <a:pt x="2220" y="222"/>
                  </a:cubicBezTo>
                  <a:cubicBezTo>
                    <a:pt x="2220" y="197"/>
                    <a:pt x="2200" y="178"/>
                    <a:pt x="2176" y="178"/>
                  </a:cubicBezTo>
                  <a:close/>
                  <a:moveTo>
                    <a:pt x="1376" y="1510"/>
                  </a:moveTo>
                  <a:cubicBezTo>
                    <a:pt x="844" y="1510"/>
                    <a:pt x="844" y="1510"/>
                    <a:pt x="844" y="1510"/>
                  </a:cubicBezTo>
                  <a:cubicBezTo>
                    <a:pt x="844" y="1332"/>
                    <a:pt x="844" y="1332"/>
                    <a:pt x="844" y="1332"/>
                  </a:cubicBezTo>
                  <a:cubicBezTo>
                    <a:pt x="1376" y="1332"/>
                    <a:pt x="1376" y="1332"/>
                    <a:pt x="1376" y="1332"/>
                  </a:cubicBezTo>
                  <a:lnTo>
                    <a:pt x="1376" y="1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4263124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3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ui8gtCWw0Qj8a9gXRyX1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sbTN4AimSV9LgWBo45V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VD6XC.KCKKsLZGe8u_j0w"/>
</p:tagLst>
</file>

<file path=ppt/tags/tag7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VD6XC.KCKKsLZGe8u_j0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VD6XC.KCKKsLZGe8u_j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heme/theme1.xml><?xml version="1.0" encoding="utf-8"?>
<a:theme xmlns:a="http://schemas.openxmlformats.org/drawingml/2006/main" name="Honeywell Template 2022">
  <a:themeElements>
    <a:clrScheme name="Custom 19">
      <a:dk1>
        <a:sysClr val="windowText" lastClr="000000"/>
      </a:dk1>
      <a:lt1>
        <a:sysClr val="window" lastClr="FFFFFF"/>
      </a:lt1>
      <a:dk2>
        <a:srgbClr val="404040"/>
      </a:dk2>
      <a:lt2>
        <a:srgbClr val="E0E0E0"/>
      </a:lt2>
      <a:accent1>
        <a:srgbClr val="D22630"/>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brand-honeywell-powerpoint-template-16x9" id="{0D62A3DC-D462-436D-A13A-2B4A117D0FC8}" vid="{99A24ACF-B8E2-40E1-9729-4804DF1E0799}"/>
    </a:ext>
  </a:extLst>
</a:theme>
</file>

<file path=ppt/theme/theme2.xml><?xml version="1.0" encoding="utf-8"?>
<a:theme xmlns:a="http://schemas.openxmlformats.org/drawingml/2006/main" name="1_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lumMod val="95000"/>
          </a:schemeClr>
        </a:solidFill>
        <a:ln>
          <a:noFill/>
        </a:ln>
      </a:spPr>
      <a:bodyPr wrap="square" lIns="91440" tIns="91440" rIns="90000" bIns="91440" rtlCol="0">
        <a:noAutofit/>
      </a:bodyPr>
      <a:lstStyle>
        <a:defPPr marR="0" algn="ctr" defTabSz="914400" rtl="0" eaLnBrk="1" fontAlgn="auto" latinLnBrk="0" hangingPunct="1">
          <a:lnSpc>
            <a:spcPct val="100000"/>
          </a:lnSpc>
          <a:spcBef>
            <a:spcPts val="0"/>
          </a:spcBef>
          <a:spcAft>
            <a:spcPts val="0"/>
          </a:spcAft>
          <a:buClrTx/>
          <a:buSzTx/>
          <a:tabLst/>
          <a:defRPr kumimoji="0" sz="1100" b="0" i="0" u="none" strike="noStrike" kern="1200" cap="none" spc="0" normalizeH="0" baseline="0" noProof="0" dirty="0" smtClean="0">
            <a:ln>
              <a:noFill/>
            </a:ln>
            <a:solidFill>
              <a:prstClr val="black"/>
            </a:solidFill>
            <a:effectLst/>
            <a:uLnTx/>
            <a:uFillTx/>
            <a:latin typeface="Arial"/>
            <a:ea typeface="+mn-ea"/>
            <a:cs typeface="+mn-cs"/>
          </a:defRPr>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3.xml><?xml version="1.0" encoding="utf-8"?>
<a:theme xmlns:a="http://schemas.openxmlformats.org/drawingml/2006/main" name="9_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Honeywell PowerPoint Template16x9Final Arial 5619 pptx pptx (002) [Read-Only]" id="{80A77245-CAE5-4CB5-8731-707233B116C0}" vid="{BD92E70A-836D-4EBB-B366-B8C247995ADB}"/>
    </a:ext>
  </a:extLst>
</a:theme>
</file>

<file path=ppt/theme/theme4.xml><?xml version="1.0" encoding="utf-8"?>
<a:theme xmlns:a="http://schemas.openxmlformats.org/drawingml/2006/main" name="2_Honeywell Template 2022">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5.xml><?xml version="1.0" encoding="utf-8"?>
<a:theme xmlns:a="http://schemas.openxmlformats.org/drawingml/2006/main" name="3_Honeywell Template 2022">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6.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213af126-92eb-4bb5-8bfd-1661103a2928" xsi:nil="true"/>
    <_ip_UnifiedCompliancePolicyProperties xmlns="http://schemas.microsoft.com/sharepoint/v3" xsi:nil="true"/>
    <lcf76f155ced4ddcb4097134ff3c332f xmlns="1e8ba917-571b-4a4f-8199-f97de5ea1578">
      <Terms xmlns="http://schemas.microsoft.com/office/infopath/2007/PartnerControls"/>
    </lcf76f155ced4ddcb4097134ff3c332f>
    <Brand xmlns="1e8ba917-571b-4a4f-8199-f97de5ea1578" xsi:nil="true"/>
    <Comments xmlns="1e8ba917-571b-4a4f-8199-f97de5ea157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AE992F63004104BA2E9C0F97772BF37" ma:contentTypeVersion="24" ma:contentTypeDescription="Create a new document." ma:contentTypeScope="" ma:versionID="21e4581436640b625c9125e7aa9819ff">
  <xsd:schema xmlns:xsd="http://www.w3.org/2001/XMLSchema" xmlns:xs="http://www.w3.org/2001/XMLSchema" xmlns:p="http://schemas.microsoft.com/office/2006/metadata/properties" xmlns:ns1="http://schemas.microsoft.com/sharepoint/v3" xmlns:ns2="1e8ba917-571b-4a4f-8199-f97de5ea1578" xmlns:ns3="c3703167-2dbd-41b6-b366-d27fac8b8aab" xmlns:ns4="213af126-92eb-4bb5-8bfd-1661103a2928" targetNamespace="http://schemas.microsoft.com/office/2006/metadata/properties" ma:root="true" ma:fieldsID="51bc2422d8ed14a4d7dc341e83180968" ns1:_="" ns2:_="" ns3:_="" ns4:_="">
    <xsd:import namespace="http://schemas.microsoft.com/sharepoint/v3"/>
    <xsd:import namespace="1e8ba917-571b-4a4f-8199-f97de5ea1578"/>
    <xsd:import namespace="c3703167-2dbd-41b6-b366-d27fac8b8aab"/>
    <xsd:import namespace="213af126-92eb-4bb5-8bfd-1661103a29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Comments" minOccurs="0"/>
                <xsd:element ref="ns2:Brand" minOccurs="0"/>
                <xsd:element ref="ns2:MediaLengthInSeconds" minOccurs="0"/>
                <xsd:element ref="ns1:_ip_UnifiedCompliancePolicyProperties" minOccurs="0"/>
                <xsd:element ref="ns1:_ip_UnifiedCompliancePolicyUIAction" minOccurs="0"/>
                <xsd:element ref="ns2:lcf76f155ced4ddcb4097134ff3c332f" minOccurs="0"/>
                <xsd:element ref="ns4: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8ba917-571b-4a4f-8199-f97de5ea15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Comments" ma:index="20" nillable="true" ma:displayName="Comments" ma:format="Dropdown" ma:internalName="Comments">
      <xsd:simpleType>
        <xsd:restriction base="dms:Note">
          <xsd:maxLength value="255"/>
        </xsd:restriction>
      </xsd:simpleType>
    </xsd:element>
    <xsd:element name="Brand" ma:index="21" nillable="true" ma:displayName="Brand" ma:format="Dropdown" ma:internalName="Brand">
      <xsd:simpleType>
        <xsd:restriction base="dms:Text">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8bc46713-8fa2-488a-ac8b-ad618560c9d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3703167-2dbd-41b6-b366-d27fac8b8aa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3af126-92eb-4bb5-8bfd-1661103a2928"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4efa619c-b4e0-4911-a3e7-2a00378fcf62}" ma:internalName="TaxCatchAll" ma:showField="CatchAllData" ma:web="c3703167-2dbd-41b6-b366-d27fac8b8aa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A96D48-C214-4F88-BF4C-52E319A5EF21}">
  <ds:schemaRefs>
    <ds:schemaRef ds:uri="http://schemas.microsoft.com/sharepoint/v3/contenttype/forms"/>
  </ds:schemaRefs>
</ds:datastoreItem>
</file>

<file path=customXml/itemProps2.xml><?xml version="1.0" encoding="utf-8"?>
<ds:datastoreItem xmlns:ds="http://schemas.openxmlformats.org/officeDocument/2006/customXml" ds:itemID="{BD8308AD-929C-4AF1-934C-AD13F105D728}">
  <ds:schemaRefs>
    <ds:schemaRef ds:uri="http://schemas.microsoft.com/office/2006/metadata/properties"/>
    <ds:schemaRef ds:uri="http://schemas.microsoft.com/office/2006/documentManagement/types"/>
    <ds:schemaRef ds:uri="http://purl.org/dc/terms/"/>
    <ds:schemaRef ds:uri="http://purl.org/dc/dcmitype/"/>
    <ds:schemaRef ds:uri="http://purl.org/dc/elements/1.1/"/>
    <ds:schemaRef ds:uri="http://schemas.microsoft.com/sharepoint/v3"/>
    <ds:schemaRef ds:uri="http://schemas.microsoft.com/office/infopath/2007/PartnerControls"/>
    <ds:schemaRef ds:uri="http://www.w3.org/XML/1998/namespace"/>
    <ds:schemaRef ds:uri="http://schemas.openxmlformats.org/package/2006/metadata/core-properties"/>
    <ds:schemaRef ds:uri="213af126-92eb-4bb5-8bfd-1661103a2928"/>
    <ds:schemaRef ds:uri="bd0260e2-80c9-487e-8fb3-d52de817cb96"/>
  </ds:schemaRefs>
</ds:datastoreItem>
</file>

<file path=customXml/itemProps3.xml><?xml version="1.0" encoding="utf-8"?>
<ds:datastoreItem xmlns:ds="http://schemas.openxmlformats.org/officeDocument/2006/customXml" ds:itemID="{5BA27D2D-6FBB-44CF-9CDD-A46C21E965FD}"/>
</file>

<file path=docMetadata/LabelInfo.xml><?xml version="1.0" encoding="utf-8"?>
<clbl:labelList xmlns:clbl="http://schemas.microsoft.com/office/2020/mipLabelMetadata">
  <clbl:label id="{d546e5e1-5d42-4630-bacd-c69bfdcbd5e8}" enabled="1" method="Standard" siteId="{96ece526-9c7d-48b0-8daf-8b93c90a5d18}" removed="0"/>
</clbl:labelList>
</file>

<file path=docProps/app.xml><?xml version="1.0" encoding="utf-8"?>
<Properties xmlns="http://schemas.openxmlformats.org/officeDocument/2006/extended-properties" xmlns:vt="http://schemas.openxmlformats.org/officeDocument/2006/docPropsVTypes">
  <Template>Honeywell-PowerPoint-Template-16x9</Template>
  <TotalTime>5</TotalTime>
  <Words>4897</Words>
  <Application>Microsoft Office PowerPoint</Application>
  <PresentationFormat>Widescreen</PresentationFormat>
  <Paragraphs>933</Paragraphs>
  <Slides>38</Slides>
  <Notes>22</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59" baseType="lpstr">
      <vt:lpstr>Aptos</vt:lpstr>
      <vt:lpstr>Arial</vt:lpstr>
      <vt:lpstr>Arial </vt:lpstr>
      <vt:lpstr>Arial Black</vt:lpstr>
      <vt:lpstr>Arial,Sans-Serif</vt:lpstr>
      <vt:lpstr>Calibri</vt:lpstr>
      <vt:lpstr>Courier New</vt:lpstr>
      <vt:lpstr>FontAwesome</vt:lpstr>
      <vt:lpstr>Helvetica Light</vt:lpstr>
      <vt:lpstr>Honeywell Sans</vt:lpstr>
      <vt:lpstr>Honeywell Sans TT</vt:lpstr>
      <vt:lpstr>Symbol</vt:lpstr>
      <vt:lpstr>System Font Regular</vt:lpstr>
      <vt:lpstr>Times New Roman</vt:lpstr>
      <vt:lpstr>Wingdings</vt:lpstr>
      <vt:lpstr>Honeywell Template 2022</vt:lpstr>
      <vt:lpstr>1_Honeywell Template 2022</vt:lpstr>
      <vt:lpstr>9_Honeywell 2019</vt:lpstr>
      <vt:lpstr>2_Honeywell Template 2022</vt:lpstr>
      <vt:lpstr>3_Honeywell Template 2022</vt:lpstr>
      <vt:lpstr>think-cell Slide</vt:lpstr>
      <vt:lpstr>LET’S CONNECT AND ACHIEVE THE OUTCOMES THAT MATTER MOST</vt:lpstr>
      <vt:lpstr>agenda</vt:lpstr>
      <vt:lpstr>BUILDING OWNERS  and OPERATORS </vt:lpstr>
      <vt:lpstr>Partner priorities </vt:lpstr>
      <vt:lpstr>learnings </vt:lpstr>
      <vt:lpstr>What’s Changed: LAUNCHING OUR HOLISTIC APPROACH</vt:lpstr>
      <vt:lpstr>transform your service offering while addressing pressing challenges </vt:lpstr>
      <vt:lpstr>TECHNICAL ARCHITECTURE</vt:lpstr>
      <vt:lpstr>Customer journey</vt:lpstr>
      <vt:lpstr>ordering</vt:lpstr>
      <vt:lpstr>connectivity</vt:lpstr>
      <vt:lpstr>Onboarding – partner portal</vt:lpstr>
      <vt:lpstr>Connect package  </vt:lpstr>
      <vt:lpstr>Connect + package</vt:lpstr>
      <vt:lpstr>END USER applications &amp; services</vt:lpstr>
      <vt:lpstr>PowerPoint Presentation</vt:lpstr>
      <vt:lpstr>MARKETING SUPPORT</vt:lpstr>
      <vt:lpstr>CONNECTED IDENTITY</vt:lpstr>
      <vt:lpstr>PowerPoint Presentation</vt:lpstr>
      <vt:lpstr>Value across the board</vt:lpstr>
      <vt:lpstr>Our Services, expanding your services…</vt:lpstr>
      <vt:lpstr>TIERED Software PACKAGES </vt:lpstr>
      <vt:lpstr>TIERED Software PACKAGES </vt:lpstr>
      <vt:lpstr>Value proposition &amp; VALUE WALK - partner REMOTE BUILDING MANAGER  </vt:lpstr>
      <vt:lpstr>Value proposition &amp; VALUE WALK –  REMOTE BUILDING MANAGER </vt:lpstr>
      <vt:lpstr>Target Customer &amp; Target Verticals</vt:lpstr>
      <vt:lpstr>PowerPoint Presentation</vt:lpstr>
      <vt:lpstr>Thank  You</vt:lpstr>
      <vt:lpstr>PARTNER BENEFITS</vt:lpstr>
      <vt:lpstr>CUSTOMER BENEFITS</vt:lpstr>
      <vt:lpstr>Value proposition &amp; VALUE WALK –  PREDICTIVE MAINTENANCE </vt:lpstr>
      <vt:lpstr>Value proposition &amp; VALUE WALK - partner insight builder</vt:lpstr>
      <vt:lpstr>Value proposition &amp; VALUE WALK – end user insight builder</vt:lpstr>
      <vt:lpstr>END USER VALUE WALK - CEM MONITOR USE CASE 1   </vt:lpstr>
      <vt:lpstr>Connected solutions- Overview</vt:lpstr>
      <vt:lpstr>Value Proposition: Partners</vt:lpstr>
      <vt:lpstr>Value Proposition: Custom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inha, Amit (IE03x)</dc:creator>
  <cp:lastModifiedBy>Sanchidrian, Sara</cp:lastModifiedBy>
  <cp:revision>3</cp:revision>
  <dcterms:created xsi:type="dcterms:W3CDTF">2025-03-18T05:31:26Z</dcterms:created>
  <dcterms:modified xsi:type="dcterms:W3CDTF">2025-06-27T06:4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E992F63004104BA2E9C0F97772BF37</vt:lpwstr>
  </property>
  <property fmtid="{D5CDD505-2E9C-101B-9397-08002B2CF9AE}" pid="3" name="MSIP_Label_d546e5e1-5d42-4630-bacd-c69bfdcbd5e8_Enabled">
    <vt:lpwstr>true</vt:lpwstr>
  </property>
  <property fmtid="{D5CDD505-2E9C-101B-9397-08002B2CF9AE}" pid="4" name="MSIP_Label_d546e5e1-5d42-4630-bacd-c69bfdcbd5e8_SetDate">
    <vt:lpwstr>2022-05-09T11:57:23Z</vt:lpwstr>
  </property>
  <property fmtid="{D5CDD505-2E9C-101B-9397-08002B2CF9AE}" pid="5" name="MSIP_Label_d546e5e1-5d42-4630-bacd-c69bfdcbd5e8_Method">
    <vt:lpwstr>Standard</vt:lpwstr>
  </property>
  <property fmtid="{D5CDD505-2E9C-101B-9397-08002B2CF9AE}" pid="6" name="MSIP_Label_d546e5e1-5d42-4630-bacd-c69bfdcbd5e8_Name">
    <vt:lpwstr>d546e5e1-5d42-4630-bacd-c69bfdcbd5e8</vt:lpwstr>
  </property>
  <property fmtid="{D5CDD505-2E9C-101B-9397-08002B2CF9AE}" pid="7" name="MSIP_Label_d546e5e1-5d42-4630-bacd-c69bfdcbd5e8_SiteId">
    <vt:lpwstr>96ece526-9c7d-48b0-8daf-8b93c90a5d18</vt:lpwstr>
  </property>
  <property fmtid="{D5CDD505-2E9C-101B-9397-08002B2CF9AE}" pid="8" name="MSIP_Label_d546e5e1-5d42-4630-bacd-c69bfdcbd5e8_ActionId">
    <vt:lpwstr>9ff641a5-90b1-445c-a805-e37cd35eb456</vt:lpwstr>
  </property>
  <property fmtid="{D5CDD505-2E9C-101B-9397-08002B2CF9AE}" pid="9" name="MSIP_Label_d546e5e1-5d42-4630-bacd-c69bfdcbd5e8_ContentBits">
    <vt:lpwstr>0</vt:lpwstr>
  </property>
  <property fmtid="{D5CDD505-2E9C-101B-9397-08002B2CF9AE}" pid="10" name="SmartTag">
    <vt:lpwstr>4</vt:lpwstr>
  </property>
  <property fmtid="{D5CDD505-2E9C-101B-9397-08002B2CF9AE}" pid="11" name="MediaServiceImageTags">
    <vt:lpwstr/>
  </property>
  <property fmtid="{D5CDD505-2E9C-101B-9397-08002B2CF9AE}" pid="12" name="Order">
    <vt:lpwstr>41700.0000000000</vt:lpwstr>
  </property>
  <property fmtid="{D5CDD505-2E9C-101B-9397-08002B2CF9AE}" pid="13" name="xd_ProgID">
    <vt:lpwstr/>
  </property>
  <property fmtid="{D5CDD505-2E9C-101B-9397-08002B2CF9AE}" pid="14" name="_SourceUrl">
    <vt:lpwstr/>
  </property>
  <property fmtid="{D5CDD505-2E9C-101B-9397-08002B2CF9AE}" pid="15" name="_SharedFileIndex">
    <vt:lpwstr/>
  </property>
  <property fmtid="{D5CDD505-2E9C-101B-9397-08002B2CF9AE}" pid="16" name="ComplianceAssetId">
    <vt:lpwstr/>
  </property>
  <property fmtid="{D5CDD505-2E9C-101B-9397-08002B2CF9AE}" pid="17" name="TemplateUrl">
    <vt:lpwstr/>
  </property>
  <property fmtid="{D5CDD505-2E9C-101B-9397-08002B2CF9AE}" pid="18" name="_ExtendedDescription">
    <vt:lpwstr/>
  </property>
  <property fmtid="{D5CDD505-2E9C-101B-9397-08002B2CF9AE}" pid="19" name="TriggerFlowInfo">
    <vt:lpwstr/>
  </property>
  <property fmtid="{D5CDD505-2E9C-101B-9397-08002B2CF9AE}" pid="20" name="xd_Signature">
    <vt:lpwstr/>
  </property>
</Properties>
</file>